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1" r:id="rId6"/>
    <p:sldMasterId id="2147483738" r:id="rId7"/>
  </p:sldMasterIdLst>
  <p:notesMasterIdLst>
    <p:notesMasterId r:id="rId33"/>
  </p:notesMasterIdLst>
  <p:handoutMasterIdLst>
    <p:handoutMasterId r:id="rId34"/>
  </p:handoutMasterIdLst>
  <p:sldIdLst>
    <p:sldId id="760" r:id="rId8"/>
    <p:sldId id="701" r:id="rId9"/>
    <p:sldId id="732" r:id="rId10"/>
    <p:sldId id="779" r:id="rId11"/>
    <p:sldId id="780" r:id="rId12"/>
    <p:sldId id="782" r:id="rId13"/>
    <p:sldId id="783" r:id="rId14"/>
    <p:sldId id="790" r:id="rId15"/>
    <p:sldId id="791" r:id="rId16"/>
    <p:sldId id="787" r:id="rId17"/>
    <p:sldId id="792" r:id="rId18"/>
    <p:sldId id="793" r:id="rId19"/>
    <p:sldId id="702" r:id="rId20"/>
    <p:sldId id="767" r:id="rId21"/>
    <p:sldId id="768" r:id="rId22"/>
    <p:sldId id="769" r:id="rId23"/>
    <p:sldId id="770" r:id="rId24"/>
    <p:sldId id="771" r:id="rId25"/>
    <p:sldId id="781" r:id="rId26"/>
    <p:sldId id="772" r:id="rId27"/>
    <p:sldId id="773" r:id="rId28"/>
    <p:sldId id="763" r:id="rId29"/>
    <p:sldId id="765" r:id="rId30"/>
    <p:sldId id="761" r:id="rId31"/>
    <p:sldId id="762" r:id="rId32"/>
  </p:sldIdLst>
  <p:sldSz cx="12192000" cy="6858000"/>
  <p:notesSz cx="6669088" cy="97536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C4DD"/>
    <a:srgbClr val="F6B8CB"/>
    <a:srgbClr val="34348A"/>
    <a:srgbClr val="3C3C9E"/>
    <a:srgbClr val="76B861"/>
    <a:srgbClr val="D2D2EE"/>
    <a:srgbClr val="E85281"/>
    <a:srgbClr val="FFEBAB"/>
    <a:srgbClr val="FFC000"/>
    <a:srgbClr val="F822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50" autoAdjust="0"/>
    <p:restoredTop sz="93979" autoAdjust="0"/>
  </p:normalViewPr>
  <p:slideViewPr>
    <p:cSldViewPr snapToGrid="0">
      <p:cViewPr varScale="1">
        <p:scale>
          <a:sx n="66" d="100"/>
          <a:sy n="66" d="100"/>
        </p:scale>
        <p:origin x="744" y="32"/>
      </p:cViewPr>
      <p:guideLst>
        <p:guide orient="horz" pos="2160"/>
        <p:guide pos="3816"/>
      </p:guideLst>
    </p:cSldViewPr>
  </p:slideViewPr>
  <p:outlineViewPr>
    <p:cViewPr>
      <p:scale>
        <a:sx n="33" d="100"/>
        <a:sy n="33" d="100"/>
      </p:scale>
      <p:origin x="0" y="-7541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5809248"/>
        <c:axId val="365811208"/>
      </c:barChart>
      <c:catAx>
        <c:axId val="3658092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65811208"/>
        <c:crosses val="autoZero"/>
        <c:auto val="1"/>
        <c:lblAlgn val="ctr"/>
        <c:lblOffset val="100"/>
        <c:noMultiLvlLbl val="0"/>
      </c:catAx>
      <c:valAx>
        <c:axId val="36581120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65809248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0734120"/>
        <c:axId val="370733728"/>
      </c:barChart>
      <c:catAx>
        <c:axId val="370734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70733728"/>
        <c:crosses val="autoZero"/>
        <c:auto val="1"/>
        <c:lblAlgn val="ctr"/>
        <c:lblOffset val="100"/>
        <c:noMultiLvlLbl val="0"/>
      </c:catAx>
      <c:valAx>
        <c:axId val="37073372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7073412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278A21-88D4-4427-859E-1624CB913D74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C59498-AA60-4C34-B976-57C5B9F931B0}">
      <dgm:prSet/>
      <dgm:spPr/>
      <dgm:t>
        <a:bodyPr/>
        <a:lstStyle/>
        <a:p>
          <a:pPr rtl="0"/>
          <a:r>
            <a:rPr lang="en-GB" b="1" dirty="0" smtClean="0"/>
            <a:t>Job-matching and searching</a:t>
          </a:r>
          <a:endParaRPr lang="en-US" b="1" dirty="0"/>
        </a:p>
      </dgm:t>
    </dgm:pt>
    <dgm:pt modelId="{69739791-8362-4FD4-B653-8A2C2FE63717}" type="parTrans" cxnId="{0BF4B97C-B666-48AE-9779-0B4949836633}">
      <dgm:prSet/>
      <dgm:spPr/>
      <dgm:t>
        <a:bodyPr/>
        <a:lstStyle/>
        <a:p>
          <a:endParaRPr lang="en-US"/>
        </a:p>
      </dgm:t>
    </dgm:pt>
    <dgm:pt modelId="{142DA9A4-EE3D-4C67-BFDB-8C693967DD73}" type="sibTrans" cxnId="{0BF4B97C-B666-48AE-9779-0B4949836633}">
      <dgm:prSet/>
      <dgm:spPr/>
      <dgm:t>
        <a:bodyPr/>
        <a:lstStyle/>
        <a:p>
          <a:endParaRPr lang="en-US"/>
        </a:p>
      </dgm:t>
    </dgm:pt>
    <dgm:pt modelId="{9E01DF4B-77A8-4600-A982-DA96D3B7D48A}">
      <dgm:prSet/>
      <dgm:spPr/>
      <dgm:t>
        <a:bodyPr/>
        <a:lstStyle/>
        <a:p>
          <a:pPr rtl="0"/>
          <a:r>
            <a:rPr lang="en-US" b="1" dirty="0" smtClean="0"/>
            <a:t>Graduate tracking</a:t>
          </a:r>
          <a:endParaRPr lang="en-US" dirty="0"/>
        </a:p>
      </dgm:t>
    </dgm:pt>
    <dgm:pt modelId="{D4A7DDD4-0C4E-4782-BE47-2080A7758902}" type="parTrans" cxnId="{F8C26CEF-B5C5-489A-AE52-6CBBFCAEE8A9}">
      <dgm:prSet/>
      <dgm:spPr/>
      <dgm:t>
        <a:bodyPr/>
        <a:lstStyle/>
        <a:p>
          <a:endParaRPr lang="en-US"/>
        </a:p>
      </dgm:t>
    </dgm:pt>
    <dgm:pt modelId="{040AFCEA-ACD4-4414-A63A-A4C9ADA06CFB}" type="sibTrans" cxnId="{F8C26CEF-B5C5-489A-AE52-6CBBFCAEE8A9}">
      <dgm:prSet/>
      <dgm:spPr/>
      <dgm:t>
        <a:bodyPr/>
        <a:lstStyle/>
        <a:p>
          <a:endParaRPr lang="en-US"/>
        </a:p>
      </dgm:t>
    </dgm:pt>
    <dgm:pt modelId="{2CCD5888-20F8-4F22-844C-601291364F2F}">
      <dgm:prSet/>
      <dgm:spPr/>
      <dgm:t>
        <a:bodyPr/>
        <a:lstStyle/>
        <a:p>
          <a:pPr rtl="0"/>
          <a:r>
            <a:rPr lang="en-GB" b="1" dirty="0" smtClean="0"/>
            <a:t>Career learning &amp; development management</a:t>
          </a:r>
          <a:endParaRPr lang="en-US" b="1" dirty="0"/>
        </a:p>
      </dgm:t>
    </dgm:pt>
    <dgm:pt modelId="{53A23720-2A39-4730-8719-9CC3B9478423}" type="parTrans" cxnId="{AE31ECF8-E0BF-45A7-A2AC-703575019DBD}">
      <dgm:prSet/>
      <dgm:spPr/>
      <dgm:t>
        <a:bodyPr/>
        <a:lstStyle/>
        <a:p>
          <a:endParaRPr lang="en-US"/>
        </a:p>
      </dgm:t>
    </dgm:pt>
    <dgm:pt modelId="{6B3E527B-029E-4349-BA26-9C7C5340D48C}" type="sibTrans" cxnId="{AE31ECF8-E0BF-45A7-A2AC-703575019DBD}">
      <dgm:prSet/>
      <dgm:spPr/>
      <dgm:t>
        <a:bodyPr/>
        <a:lstStyle/>
        <a:p>
          <a:endParaRPr lang="en-US"/>
        </a:p>
      </dgm:t>
    </dgm:pt>
    <dgm:pt modelId="{6C75942D-C1F9-4FA6-A3FC-7C88B22433D5}">
      <dgm:prSet/>
      <dgm:spPr/>
      <dgm:t>
        <a:bodyPr/>
        <a:lstStyle/>
        <a:p>
          <a:pPr rtl="0"/>
          <a:r>
            <a:rPr lang="en-GB" b="1" dirty="0" smtClean="0"/>
            <a:t>Statistical research</a:t>
          </a:r>
          <a:endParaRPr lang="en-US" b="1" dirty="0"/>
        </a:p>
      </dgm:t>
    </dgm:pt>
    <dgm:pt modelId="{9B74B938-0409-4557-A615-9ADA0738C3CF}" type="parTrans" cxnId="{3B1E5426-B869-4543-AB6E-FC74151FA425}">
      <dgm:prSet/>
      <dgm:spPr/>
      <dgm:t>
        <a:bodyPr/>
        <a:lstStyle/>
        <a:p>
          <a:endParaRPr lang="en-US"/>
        </a:p>
      </dgm:t>
    </dgm:pt>
    <dgm:pt modelId="{CF2AF889-BBC2-46A2-8EDD-4FFD9810F3A8}" type="sibTrans" cxnId="{3B1E5426-B869-4543-AB6E-FC74151FA425}">
      <dgm:prSet/>
      <dgm:spPr/>
      <dgm:t>
        <a:bodyPr/>
        <a:lstStyle/>
        <a:p>
          <a:endParaRPr lang="en-US"/>
        </a:p>
      </dgm:t>
    </dgm:pt>
    <dgm:pt modelId="{6DCD3A6A-6DD0-483D-8A01-A39AD2EC880A}">
      <dgm:prSet/>
      <dgm:spPr/>
      <dgm:t>
        <a:bodyPr/>
        <a:lstStyle/>
        <a:p>
          <a:pPr rtl="0"/>
          <a:r>
            <a:rPr lang="en-US" b="1" dirty="0" smtClean="0"/>
            <a:t>Curricula development</a:t>
          </a:r>
          <a:endParaRPr lang="en-US" dirty="0"/>
        </a:p>
      </dgm:t>
    </dgm:pt>
    <dgm:pt modelId="{756270EA-CFF4-4FFD-94B6-513ABEFAA09C}" type="parTrans" cxnId="{6C47A12D-5841-4CB9-BA8D-18E3BF50EE14}">
      <dgm:prSet/>
      <dgm:spPr/>
      <dgm:t>
        <a:bodyPr/>
        <a:lstStyle/>
        <a:p>
          <a:endParaRPr lang="en-US"/>
        </a:p>
      </dgm:t>
    </dgm:pt>
    <dgm:pt modelId="{C1E2EBEE-1C6E-4290-B0C0-246195A2B208}" type="sibTrans" cxnId="{6C47A12D-5841-4CB9-BA8D-18E3BF50EE14}">
      <dgm:prSet/>
      <dgm:spPr/>
      <dgm:t>
        <a:bodyPr/>
        <a:lstStyle/>
        <a:p>
          <a:endParaRPr lang="en-US"/>
        </a:p>
      </dgm:t>
    </dgm:pt>
    <dgm:pt modelId="{D0AC579F-8BD7-43AC-8A8E-443A07A9FE4E}">
      <dgm:prSet/>
      <dgm:spPr/>
      <dgm:t>
        <a:bodyPr/>
        <a:lstStyle/>
        <a:p>
          <a:pPr rtl="0"/>
          <a:r>
            <a:rPr lang="en-GB" b="1" dirty="0" smtClean="0"/>
            <a:t>Ontology management &amp; machine learning</a:t>
          </a:r>
          <a:endParaRPr lang="en-US" b="1" dirty="0"/>
        </a:p>
      </dgm:t>
    </dgm:pt>
    <dgm:pt modelId="{E07F060C-A8CC-44ED-855B-C68C53DF50DE}" type="parTrans" cxnId="{FAB4FB3F-DD72-4549-95DB-772491A4FA04}">
      <dgm:prSet/>
      <dgm:spPr/>
      <dgm:t>
        <a:bodyPr/>
        <a:lstStyle/>
        <a:p>
          <a:endParaRPr lang="en-US"/>
        </a:p>
      </dgm:t>
    </dgm:pt>
    <dgm:pt modelId="{4DF85E8D-1961-4D47-A663-DA5CC1E37D40}" type="sibTrans" cxnId="{FAB4FB3F-DD72-4549-95DB-772491A4FA04}">
      <dgm:prSet/>
      <dgm:spPr/>
      <dgm:t>
        <a:bodyPr/>
        <a:lstStyle/>
        <a:p>
          <a:endParaRPr lang="en-US"/>
        </a:p>
      </dgm:t>
    </dgm:pt>
    <dgm:pt modelId="{75DEF306-6F16-4111-BBD3-C3051707C2E2}">
      <dgm:prSet/>
      <dgm:spPr/>
      <dgm:t>
        <a:bodyPr/>
        <a:lstStyle/>
        <a:p>
          <a:pPr rtl="0"/>
          <a:r>
            <a:rPr lang="en-GB" b="1" dirty="0" smtClean="0"/>
            <a:t>Validation of informal/non-formal/formal learning</a:t>
          </a:r>
          <a:endParaRPr lang="en-US" dirty="0"/>
        </a:p>
      </dgm:t>
    </dgm:pt>
    <dgm:pt modelId="{D8966218-F30E-4D5F-9948-B4514AB8C208}" type="parTrans" cxnId="{AA60BA16-539E-4BE4-A2A5-7858D05BFF4C}">
      <dgm:prSet/>
      <dgm:spPr/>
      <dgm:t>
        <a:bodyPr/>
        <a:lstStyle/>
        <a:p>
          <a:endParaRPr lang="en-US"/>
        </a:p>
      </dgm:t>
    </dgm:pt>
    <dgm:pt modelId="{3F41B02C-506D-4DF7-AA8F-0A18AA07AA83}" type="sibTrans" cxnId="{AA60BA16-539E-4BE4-A2A5-7858D05BFF4C}">
      <dgm:prSet/>
      <dgm:spPr/>
      <dgm:t>
        <a:bodyPr/>
        <a:lstStyle/>
        <a:p>
          <a:endParaRPr lang="en-US"/>
        </a:p>
      </dgm:t>
    </dgm:pt>
    <dgm:pt modelId="{2C40BEF4-6961-4283-97BA-8B28F27C13B5}">
      <dgm:prSet/>
      <dgm:spPr/>
      <dgm:t>
        <a:bodyPr/>
        <a:lstStyle/>
        <a:p>
          <a:endParaRPr lang="en-US" dirty="0"/>
        </a:p>
      </dgm:t>
    </dgm:pt>
    <dgm:pt modelId="{DE2A070D-E041-44D2-9939-EDDB2AB54462}" type="parTrans" cxnId="{6CA04064-AF60-4289-9BD6-A6DB22026264}">
      <dgm:prSet/>
      <dgm:spPr/>
      <dgm:t>
        <a:bodyPr/>
        <a:lstStyle/>
        <a:p>
          <a:endParaRPr lang="en-US"/>
        </a:p>
      </dgm:t>
    </dgm:pt>
    <dgm:pt modelId="{328672BE-75C6-451B-9923-FC01A39AB90F}" type="sibTrans" cxnId="{6CA04064-AF60-4289-9BD6-A6DB22026264}">
      <dgm:prSet/>
      <dgm:spPr/>
      <dgm:t>
        <a:bodyPr/>
        <a:lstStyle/>
        <a:p>
          <a:endParaRPr lang="en-US"/>
        </a:p>
      </dgm:t>
    </dgm:pt>
    <dgm:pt modelId="{C629F09C-6BE6-4B38-955C-1F1C60E4793C}" type="pres">
      <dgm:prSet presAssocID="{6A278A21-88D4-4427-859E-1624CB913D74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ED45907-5405-47B0-A77F-ED59D4C17D11}" type="pres">
      <dgm:prSet presAssocID="{69C59498-AA60-4C34-B976-57C5B9F931B0}" presName="circ1" presStyleLbl="vennNode1" presStyleIdx="0" presStyleCnt="7"/>
      <dgm:spPr/>
    </dgm:pt>
    <dgm:pt modelId="{AF208597-F6A7-467F-9B8A-FC8726A23AE9}" type="pres">
      <dgm:prSet presAssocID="{69C59498-AA60-4C34-B976-57C5B9F931B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37123F-6D0E-4874-8764-D31DB11057DD}" type="pres">
      <dgm:prSet presAssocID="{9E01DF4B-77A8-4600-A982-DA96D3B7D48A}" presName="circ2" presStyleLbl="vennNode1" presStyleIdx="1" presStyleCnt="7"/>
      <dgm:spPr/>
    </dgm:pt>
    <dgm:pt modelId="{F69EB29F-5F90-489C-A6F1-BAFC8664A71A}" type="pres">
      <dgm:prSet presAssocID="{9E01DF4B-77A8-4600-A982-DA96D3B7D48A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C63579-4B44-43EF-B98A-74040C3A4B52}" type="pres">
      <dgm:prSet presAssocID="{2CCD5888-20F8-4F22-844C-601291364F2F}" presName="circ3" presStyleLbl="vennNode1" presStyleIdx="2" presStyleCnt="7"/>
      <dgm:spPr/>
    </dgm:pt>
    <dgm:pt modelId="{C8FFB011-A194-4FC6-9747-D5E28DD2647F}" type="pres">
      <dgm:prSet presAssocID="{2CCD5888-20F8-4F22-844C-601291364F2F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AAA4CF-5AFF-4FE2-9C1A-A4B300CB2EFA}" type="pres">
      <dgm:prSet presAssocID="{6C75942D-C1F9-4FA6-A3FC-7C88B22433D5}" presName="circ4" presStyleLbl="vennNode1" presStyleIdx="3" presStyleCnt="7"/>
      <dgm:spPr/>
    </dgm:pt>
    <dgm:pt modelId="{06261101-9367-4A7B-BF22-E75C8CA33514}" type="pres">
      <dgm:prSet presAssocID="{6C75942D-C1F9-4FA6-A3FC-7C88B22433D5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E6C3AF-8E74-4D45-9B03-798D7FCFB07F}" type="pres">
      <dgm:prSet presAssocID="{6DCD3A6A-6DD0-483D-8A01-A39AD2EC880A}" presName="circ5" presStyleLbl="vennNode1" presStyleIdx="4" presStyleCnt="7"/>
      <dgm:spPr/>
    </dgm:pt>
    <dgm:pt modelId="{151742D4-C282-48C7-A438-3DD6B74776DC}" type="pres">
      <dgm:prSet presAssocID="{6DCD3A6A-6DD0-483D-8A01-A39AD2EC880A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FDEA42-E82A-4C3D-9A6A-EF4F906013C2}" type="pres">
      <dgm:prSet presAssocID="{D0AC579F-8BD7-43AC-8A8E-443A07A9FE4E}" presName="circ6" presStyleLbl="vennNode1" presStyleIdx="5" presStyleCnt="7"/>
      <dgm:spPr/>
    </dgm:pt>
    <dgm:pt modelId="{D26EBCEC-89EE-49D0-B326-58EEB3286501}" type="pres">
      <dgm:prSet presAssocID="{D0AC579F-8BD7-43AC-8A8E-443A07A9FE4E}" presName="circ6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FE9A8E-FCF2-40C8-B72A-4B173C1F609F}" type="pres">
      <dgm:prSet presAssocID="{75DEF306-6F16-4111-BBD3-C3051707C2E2}" presName="circ7" presStyleLbl="vennNode1" presStyleIdx="6" presStyleCnt="7"/>
      <dgm:spPr/>
    </dgm:pt>
    <dgm:pt modelId="{37D127FA-F447-4498-8F4A-8006C2C7AC36}" type="pres">
      <dgm:prSet presAssocID="{75DEF306-6F16-4111-BBD3-C3051707C2E2}" presName="circ7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B4FB3F-DD72-4549-95DB-772491A4FA04}" srcId="{6A278A21-88D4-4427-859E-1624CB913D74}" destId="{D0AC579F-8BD7-43AC-8A8E-443A07A9FE4E}" srcOrd="5" destOrd="0" parTransId="{E07F060C-A8CC-44ED-855B-C68C53DF50DE}" sibTransId="{4DF85E8D-1961-4D47-A663-DA5CC1E37D40}"/>
    <dgm:cxn modelId="{6C47A12D-5841-4CB9-BA8D-18E3BF50EE14}" srcId="{6A278A21-88D4-4427-859E-1624CB913D74}" destId="{6DCD3A6A-6DD0-483D-8A01-A39AD2EC880A}" srcOrd="4" destOrd="0" parTransId="{756270EA-CFF4-4FFD-94B6-513ABEFAA09C}" sibTransId="{C1E2EBEE-1C6E-4290-B0C0-246195A2B208}"/>
    <dgm:cxn modelId="{6CA04064-AF60-4289-9BD6-A6DB22026264}" srcId="{6A278A21-88D4-4427-859E-1624CB913D74}" destId="{2C40BEF4-6961-4283-97BA-8B28F27C13B5}" srcOrd="7" destOrd="0" parTransId="{DE2A070D-E041-44D2-9939-EDDB2AB54462}" sibTransId="{328672BE-75C6-451B-9923-FC01A39AB90F}"/>
    <dgm:cxn modelId="{AA60BA16-539E-4BE4-A2A5-7858D05BFF4C}" srcId="{6A278A21-88D4-4427-859E-1624CB913D74}" destId="{75DEF306-6F16-4111-BBD3-C3051707C2E2}" srcOrd="6" destOrd="0" parTransId="{D8966218-F30E-4D5F-9948-B4514AB8C208}" sibTransId="{3F41B02C-506D-4DF7-AA8F-0A18AA07AA83}"/>
    <dgm:cxn modelId="{702B542B-0764-4CA4-94B8-0FE7704EAC3C}" type="presOf" srcId="{D0AC579F-8BD7-43AC-8A8E-443A07A9FE4E}" destId="{D26EBCEC-89EE-49D0-B326-58EEB3286501}" srcOrd="0" destOrd="0" presId="urn:microsoft.com/office/officeart/2005/8/layout/venn1"/>
    <dgm:cxn modelId="{3238EC0E-D613-4859-B373-53103A74DE9C}" type="presOf" srcId="{6A278A21-88D4-4427-859E-1624CB913D74}" destId="{C629F09C-6BE6-4B38-955C-1F1C60E4793C}" srcOrd="0" destOrd="0" presId="urn:microsoft.com/office/officeart/2005/8/layout/venn1"/>
    <dgm:cxn modelId="{588F4212-5D44-4231-9D35-FE6F3964A673}" type="presOf" srcId="{6DCD3A6A-6DD0-483D-8A01-A39AD2EC880A}" destId="{151742D4-C282-48C7-A438-3DD6B74776DC}" srcOrd="0" destOrd="0" presId="urn:microsoft.com/office/officeart/2005/8/layout/venn1"/>
    <dgm:cxn modelId="{F8C26CEF-B5C5-489A-AE52-6CBBFCAEE8A9}" srcId="{6A278A21-88D4-4427-859E-1624CB913D74}" destId="{9E01DF4B-77A8-4600-A982-DA96D3B7D48A}" srcOrd="1" destOrd="0" parTransId="{D4A7DDD4-0C4E-4782-BE47-2080A7758902}" sibTransId="{040AFCEA-ACD4-4414-A63A-A4C9ADA06CFB}"/>
    <dgm:cxn modelId="{B53683E0-01BF-4271-9280-4F7A3E755DAF}" type="presOf" srcId="{6C75942D-C1F9-4FA6-A3FC-7C88B22433D5}" destId="{06261101-9367-4A7B-BF22-E75C8CA33514}" srcOrd="0" destOrd="0" presId="urn:microsoft.com/office/officeart/2005/8/layout/venn1"/>
    <dgm:cxn modelId="{3D7F8AC2-0BE4-4F84-9360-2E61CB80E803}" type="presOf" srcId="{9E01DF4B-77A8-4600-A982-DA96D3B7D48A}" destId="{F69EB29F-5F90-489C-A6F1-BAFC8664A71A}" srcOrd="0" destOrd="0" presId="urn:microsoft.com/office/officeart/2005/8/layout/venn1"/>
    <dgm:cxn modelId="{3B1E5426-B869-4543-AB6E-FC74151FA425}" srcId="{6A278A21-88D4-4427-859E-1624CB913D74}" destId="{6C75942D-C1F9-4FA6-A3FC-7C88B22433D5}" srcOrd="3" destOrd="0" parTransId="{9B74B938-0409-4557-A615-9ADA0738C3CF}" sibTransId="{CF2AF889-BBC2-46A2-8EDD-4FFD9810F3A8}"/>
    <dgm:cxn modelId="{4345A91F-C4F3-4169-B2C1-BC883298691B}" type="presOf" srcId="{75DEF306-6F16-4111-BBD3-C3051707C2E2}" destId="{37D127FA-F447-4498-8F4A-8006C2C7AC36}" srcOrd="0" destOrd="0" presId="urn:microsoft.com/office/officeart/2005/8/layout/venn1"/>
    <dgm:cxn modelId="{3FB88D2E-16DC-442A-BC34-425340DAAD37}" type="presOf" srcId="{69C59498-AA60-4C34-B976-57C5B9F931B0}" destId="{AF208597-F6A7-467F-9B8A-FC8726A23AE9}" srcOrd="0" destOrd="0" presId="urn:microsoft.com/office/officeart/2005/8/layout/venn1"/>
    <dgm:cxn modelId="{A4BCC861-0C0B-4440-AC0C-B4C81B2E3F27}" type="presOf" srcId="{2CCD5888-20F8-4F22-844C-601291364F2F}" destId="{C8FFB011-A194-4FC6-9747-D5E28DD2647F}" srcOrd="0" destOrd="0" presId="urn:microsoft.com/office/officeart/2005/8/layout/venn1"/>
    <dgm:cxn modelId="{0BF4B97C-B666-48AE-9779-0B4949836633}" srcId="{6A278A21-88D4-4427-859E-1624CB913D74}" destId="{69C59498-AA60-4C34-B976-57C5B9F931B0}" srcOrd="0" destOrd="0" parTransId="{69739791-8362-4FD4-B653-8A2C2FE63717}" sibTransId="{142DA9A4-EE3D-4C67-BFDB-8C693967DD73}"/>
    <dgm:cxn modelId="{AE31ECF8-E0BF-45A7-A2AC-703575019DBD}" srcId="{6A278A21-88D4-4427-859E-1624CB913D74}" destId="{2CCD5888-20F8-4F22-844C-601291364F2F}" srcOrd="2" destOrd="0" parTransId="{53A23720-2A39-4730-8719-9CC3B9478423}" sibTransId="{6B3E527B-029E-4349-BA26-9C7C5340D48C}"/>
    <dgm:cxn modelId="{F5CCE2D0-B297-4F34-8DB5-8A0323015870}" type="presParOf" srcId="{C629F09C-6BE6-4B38-955C-1F1C60E4793C}" destId="{5ED45907-5405-47B0-A77F-ED59D4C17D11}" srcOrd="0" destOrd="0" presId="urn:microsoft.com/office/officeart/2005/8/layout/venn1"/>
    <dgm:cxn modelId="{8445DA73-5BA1-4E07-B4CC-2020A62709A2}" type="presParOf" srcId="{C629F09C-6BE6-4B38-955C-1F1C60E4793C}" destId="{AF208597-F6A7-467F-9B8A-FC8726A23AE9}" srcOrd="1" destOrd="0" presId="urn:microsoft.com/office/officeart/2005/8/layout/venn1"/>
    <dgm:cxn modelId="{660BC23E-10E3-4FCF-B9FC-840A0BAC1986}" type="presParOf" srcId="{C629F09C-6BE6-4B38-955C-1F1C60E4793C}" destId="{BA37123F-6D0E-4874-8764-D31DB11057DD}" srcOrd="2" destOrd="0" presId="urn:microsoft.com/office/officeart/2005/8/layout/venn1"/>
    <dgm:cxn modelId="{866C38C4-181B-4E9C-9D00-045A617E7B1D}" type="presParOf" srcId="{C629F09C-6BE6-4B38-955C-1F1C60E4793C}" destId="{F69EB29F-5F90-489C-A6F1-BAFC8664A71A}" srcOrd="3" destOrd="0" presId="urn:microsoft.com/office/officeart/2005/8/layout/venn1"/>
    <dgm:cxn modelId="{4C05E529-8B07-4362-B518-99436A59D5F2}" type="presParOf" srcId="{C629F09C-6BE6-4B38-955C-1F1C60E4793C}" destId="{0AC63579-4B44-43EF-B98A-74040C3A4B52}" srcOrd="4" destOrd="0" presId="urn:microsoft.com/office/officeart/2005/8/layout/venn1"/>
    <dgm:cxn modelId="{7D7EFCBF-B11B-4543-9C21-DC239F166856}" type="presParOf" srcId="{C629F09C-6BE6-4B38-955C-1F1C60E4793C}" destId="{C8FFB011-A194-4FC6-9747-D5E28DD2647F}" srcOrd="5" destOrd="0" presId="urn:microsoft.com/office/officeart/2005/8/layout/venn1"/>
    <dgm:cxn modelId="{FEDAC0F6-CEAD-488D-B698-DFE8EB6D099B}" type="presParOf" srcId="{C629F09C-6BE6-4B38-955C-1F1C60E4793C}" destId="{43AAA4CF-5AFF-4FE2-9C1A-A4B300CB2EFA}" srcOrd="6" destOrd="0" presId="urn:microsoft.com/office/officeart/2005/8/layout/venn1"/>
    <dgm:cxn modelId="{1015F89B-A69D-4AD4-897F-6F92902D7C50}" type="presParOf" srcId="{C629F09C-6BE6-4B38-955C-1F1C60E4793C}" destId="{06261101-9367-4A7B-BF22-E75C8CA33514}" srcOrd="7" destOrd="0" presId="urn:microsoft.com/office/officeart/2005/8/layout/venn1"/>
    <dgm:cxn modelId="{8C6ED610-74C5-4975-8EB6-38C36A1D2D4E}" type="presParOf" srcId="{C629F09C-6BE6-4B38-955C-1F1C60E4793C}" destId="{2BE6C3AF-8E74-4D45-9B03-798D7FCFB07F}" srcOrd="8" destOrd="0" presId="urn:microsoft.com/office/officeart/2005/8/layout/venn1"/>
    <dgm:cxn modelId="{CCD377C2-FF8F-4958-BB42-E249CF5DADDC}" type="presParOf" srcId="{C629F09C-6BE6-4B38-955C-1F1C60E4793C}" destId="{151742D4-C282-48C7-A438-3DD6B74776DC}" srcOrd="9" destOrd="0" presId="urn:microsoft.com/office/officeart/2005/8/layout/venn1"/>
    <dgm:cxn modelId="{845BFDFE-8C98-448C-9ED1-AF6A150CC24C}" type="presParOf" srcId="{C629F09C-6BE6-4B38-955C-1F1C60E4793C}" destId="{91FDEA42-E82A-4C3D-9A6A-EF4F906013C2}" srcOrd="10" destOrd="0" presId="urn:microsoft.com/office/officeart/2005/8/layout/venn1"/>
    <dgm:cxn modelId="{CBC620B0-C7BA-4995-A8C4-08DC27515AF4}" type="presParOf" srcId="{C629F09C-6BE6-4B38-955C-1F1C60E4793C}" destId="{D26EBCEC-89EE-49D0-B326-58EEB3286501}" srcOrd="11" destOrd="0" presId="urn:microsoft.com/office/officeart/2005/8/layout/venn1"/>
    <dgm:cxn modelId="{D7F85609-A862-42F7-9D64-F1C78238CB2E}" type="presParOf" srcId="{C629F09C-6BE6-4B38-955C-1F1C60E4793C}" destId="{B6FE9A8E-FCF2-40C8-B72A-4B173C1F609F}" srcOrd="12" destOrd="0" presId="urn:microsoft.com/office/officeart/2005/8/layout/venn1"/>
    <dgm:cxn modelId="{9E1AAF76-520F-4B63-9C46-1D2BF748728E}" type="presParOf" srcId="{C629F09C-6BE6-4B38-955C-1F1C60E4793C}" destId="{37D127FA-F447-4498-8F4A-8006C2C7AC36}" srcOrd="1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9B4C08-F763-4C4C-956B-DBCA2A590BED}" type="doc">
      <dgm:prSet loTypeId="urn:microsoft.com/office/officeart/2005/8/layout/radial6" loCatId="cycle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11E6CE7E-8A2F-490C-9565-1839A8E98FDF}">
      <dgm:prSet phldrT="[Text]" custT="1"/>
      <dgm:spPr/>
      <dgm:t>
        <a:bodyPr/>
        <a:lstStyle/>
        <a:p>
          <a:pPr rtl="0"/>
          <a:r>
            <a:rPr lang="en-GB" sz="1400" dirty="0">
              <a:latin typeface="Verdana"/>
            </a:rPr>
            <a:t>Updated and improved classification</a:t>
          </a:r>
          <a:endParaRPr lang="en-GB" sz="1400" dirty="0"/>
        </a:p>
      </dgm:t>
    </dgm:pt>
    <dgm:pt modelId="{06156C6A-46CE-43B2-9EE4-61957B1C9A78}" type="parTrans" cxnId="{B63FF0DC-BE72-480C-A969-E72993FF77DA}">
      <dgm:prSet/>
      <dgm:spPr/>
      <dgm:t>
        <a:bodyPr/>
        <a:lstStyle/>
        <a:p>
          <a:endParaRPr lang="en-US"/>
        </a:p>
      </dgm:t>
    </dgm:pt>
    <dgm:pt modelId="{06A3B860-16B3-442A-A801-DA998DD2709E}" type="sibTrans" cxnId="{B63FF0DC-BE72-480C-A969-E72993FF77DA}">
      <dgm:prSet/>
      <dgm:spPr/>
      <dgm:t>
        <a:bodyPr/>
        <a:lstStyle/>
        <a:p>
          <a:endParaRPr lang="en-US"/>
        </a:p>
      </dgm:t>
    </dgm:pt>
    <dgm:pt modelId="{2D8C59C2-AA95-472C-A7B0-54D058B557E9}">
      <dgm:prSet phldrT="[Text]"/>
      <dgm:spPr/>
      <dgm:t>
        <a:bodyPr/>
        <a:lstStyle/>
        <a:p>
          <a:pPr rtl="0"/>
          <a:r>
            <a:rPr lang="en-GB" dirty="0"/>
            <a:t>Desk </a:t>
          </a:r>
          <a:r>
            <a:rPr lang="en-GB" dirty="0">
              <a:latin typeface="Verdana"/>
            </a:rPr>
            <a:t>research &amp; sectoral gap analysis</a:t>
          </a:r>
          <a:endParaRPr lang="en-US" dirty="0"/>
        </a:p>
      </dgm:t>
    </dgm:pt>
    <dgm:pt modelId="{AD965EB4-17B6-4D99-BD79-85B2EED072D5}" type="parTrans" cxnId="{190A69F2-5F01-4800-B544-B57FFE4EE4E1}">
      <dgm:prSet/>
      <dgm:spPr/>
      <dgm:t>
        <a:bodyPr/>
        <a:lstStyle/>
        <a:p>
          <a:endParaRPr lang="en-US"/>
        </a:p>
      </dgm:t>
    </dgm:pt>
    <dgm:pt modelId="{397C7682-4ACB-4963-AC90-EE98C8EE5995}" type="sibTrans" cxnId="{190A69F2-5F01-4800-B544-B57FFE4EE4E1}">
      <dgm:prSet/>
      <dgm:spPr/>
      <dgm:t>
        <a:bodyPr/>
        <a:lstStyle/>
        <a:p>
          <a:endParaRPr lang="en-US"/>
        </a:p>
      </dgm:t>
    </dgm:pt>
    <dgm:pt modelId="{DFA911F0-09C4-49A4-9727-D89EFF6B3C8F}">
      <dgm:prSet phldrT="[Text]"/>
      <dgm:spPr/>
      <dgm:t>
        <a:bodyPr/>
        <a:lstStyle/>
        <a:p>
          <a:r>
            <a:rPr lang="en-GB" dirty="0"/>
            <a:t>Quality review</a:t>
          </a:r>
          <a:endParaRPr lang="en-US" dirty="0"/>
        </a:p>
      </dgm:t>
    </dgm:pt>
    <dgm:pt modelId="{2011B538-EF7B-4784-ADC4-8688D21ECC7C}" type="parTrans" cxnId="{F04D15EA-A9CD-4346-8DC7-5B28022C53CE}">
      <dgm:prSet/>
      <dgm:spPr/>
      <dgm:t>
        <a:bodyPr/>
        <a:lstStyle/>
        <a:p>
          <a:endParaRPr lang="en-US"/>
        </a:p>
      </dgm:t>
    </dgm:pt>
    <dgm:pt modelId="{687E444B-05BE-450E-9F3E-D549FD31A1D4}" type="sibTrans" cxnId="{F04D15EA-A9CD-4346-8DC7-5B28022C53CE}">
      <dgm:prSet/>
      <dgm:spPr/>
      <dgm:t>
        <a:bodyPr/>
        <a:lstStyle/>
        <a:p>
          <a:endParaRPr lang="en-US"/>
        </a:p>
      </dgm:t>
    </dgm:pt>
    <dgm:pt modelId="{E4644DD5-D5AB-4E47-8707-97B65870CB67}">
      <dgm:prSet phldrT="[Text]"/>
      <dgm:spPr/>
      <dgm:t>
        <a:bodyPr/>
        <a:lstStyle/>
        <a:p>
          <a:pPr rtl="0"/>
          <a:r>
            <a:rPr lang="en-GB" dirty="0">
              <a:latin typeface="Verdana"/>
            </a:rPr>
            <a:t>Process and</a:t>
          </a:r>
          <a:r>
            <a:rPr lang="en-GB" dirty="0"/>
            <a:t> </a:t>
          </a:r>
          <a:r>
            <a:rPr lang="en-GB" dirty="0">
              <a:latin typeface="Verdana"/>
            </a:rPr>
            <a:t>discuss feedback</a:t>
          </a:r>
          <a:endParaRPr lang="en-US" dirty="0"/>
        </a:p>
      </dgm:t>
    </dgm:pt>
    <dgm:pt modelId="{BF1F2105-1659-4578-95EF-76AF24A4716A}" type="parTrans" cxnId="{C1E25E7B-837C-49C0-9B7E-D8335DEB32DA}">
      <dgm:prSet/>
      <dgm:spPr/>
      <dgm:t>
        <a:bodyPr/>
        <a:lstStyle/>
        <a:p>
          <a:endParaRPr lang="en-US"/>
        </a:p>
      </dgm:t>
    </dgm:pt>
    <dgm:pt modelId="{6915C13E-81C7-4B51-96DB-C526E5CB8C55}" type="sibTrans" cxnId="{C1E25E7B-837C-49C0-9B7E-D8335DEB32DA}">
      <dgm:prSet/>
      <dgm:spPr/>
      <dgm:t>
        <a:bodyPr/>
        <a:lstStyle/>
        <a:p>
          <a:endParaRPr lang="en-US"/>
        </a:p>
      </dgm:t>
    </dgm:pt>
    <dgm:pt modelId="{F8A5C5AE-7DFB-409B-B805-1D5474D7D509}">
      <dgm:prSet/>
      <dgm:spPr/>
      <dgm:t>
        <a:bodyPr/>
        <a:lstStyle/>
        <a:p>
          <a:pPr rtl="0"/>
          <a:r>
            <a:rPr lang="en-GB" dirty="0"/>
            <a:t>Content creation</a:t>
          </a:r>
          <a:r>
            <a:rPr lang="en-GB" dirty="0">
              <a:latin typeface="Verdana"/>
            </a:rPr>
            <a:t> &amp; validation</a:t>
          </a:r>
          <a:endParaRPr lang="en-US" dirty="0"/>
        </a:p>
      </dgm:t>
    </dgm:pt>
    <dgm:pt modelId="{44471A37-FE53-431F-ADA2-4E57989447CB}" type="parTrans" cxnId="{4F22588A-BBAB-49F3-A2D4-C1B94781FE83}">
      <dgm:prSet/>
      <dgm:spPr/>
      <dgm:t>
        <a:bodyPr/>
        <a:lstStyle/>
        <a:p>
          <a:endParaRPr lang="en-US"/>
        </a:p>
      </dgm:t>
    </dgm:pt>
    <dgm:pt modelId="{60ACE021-57F7-4C61-A70D-3ECAFA55F1C6}" type="sibTrans" cxnId="{4F22588A-BBAB-49F3-A2D4-C1B94781FE83}">
      <dgm:prSet/>
      <dgm:spPr/>
      <dgm:t>
        <a:bodyPr/>
        <a:lstStyle/>
        <a:p>
          <a:endParaRPr lang="en-US"/>
        </a:p>
      </dgm:t>
    </dgm:pt>
    <dgm:pt modelId="{C0B82736-ADC8-45EC-95A9-AB22338C1973}" type="pres">
      <dgm:prSet presAssocID="{BE9B4C08-F763-4C4C-956B-DBCA2A590BE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819CA9E-4DA3-4D1D-B5D0-45B4617FE3DA}" type="pres">
      <dgm:prSet presAssocID="{11E6CE7E-8A2F-490C-9565-1839A8E98FDF}" presName="centerShape" presStyleLbl="node0" presStyleIdx="0" presStyleCnt="1"/>
      <dgm:spPr/>
      <dgm:t>
        <a:bodyPr/>
        <a:lstStyle/>
        <a:p>
          <a:endParaRPr lang="en-US"/>
        </a:p>
      </dgm:t>
    </dgm:pt>
    <dgm:pt modelId="{9BADF790-DEDD-4E2E-BF4D-80D76744C5BF}" type="pres">
      <dgm:prSet presAssocID="{2D8C59C2-AA95-472C-A7B0-54D058B557E9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16A4F5-70E2-4E0C-BF01-DABA4FB0A46C}" type="pres">
      <dgm:prSet presAssocID="{2D8C59C2-AA95-472C-A7B0-54D058B557E9}" presName="dummy" presStyleCnt="0"/>
      <dgm:spPr/>
    </dgm:pt>
    <dgm:pt modelId="{50E7D2BD-8275-4458-9A06-E1BAB8183C33}" type="pres">
      <dgm:prSet presAssocID="{397C7682-4ACB-4963-AC90-EE98C8EE5995}" presName="sibTrans" presStyleLbl="sibTrans2D1" presStyleIdx="0" presStyleCnt="4"/>
      <dgm:spPr/>
      <dgm:t>
        <a:bodyPr/>
        <a:lstStyle/>
        <a:p>
          <a:endParaRPr lang="en-US"/>
        </a:p>
      </dgm:t>
    </dgm:pt>
    <dgm:pt modelId="{21AE6BC9-63C0-4435-9BA2-68EF385BFA84}" type="pres">
      <dgm:prSet presAssocID="{DFA911F0-09C4-49A4-9727-D89EFF6B3C8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0D7C4D-5540-4797-BAEF-F4535769EFB8}" type="pres">
      <dgm:prSet presAssocID="{DFA911F0-09C4-49A4-9727-D89EFF6B3C8F}" presName="dummy" presStyleCnt="0"/>
      <dgm:spPr/>
    </dgm:pt>
    <dgm:pt modelId="{5A2A72A4-B528-4B81-B94B-ECD951A155C9}" type="pres">
      <dgm:prSet presAssocID="{687E444B-05BE-450E-9F3E-D549FD31A1D4}" presName="sibTrans" presStyleLbl="sibTrans2D1" presStyleIdx="1" presStyleCnt="4"/>
      <dgm:spPr/>
      <dgm:t>
        <a:bodyPr/>
        <a:lstStyle/>
        <a:p>
          <a:endParaRPr lang="en-US"/>
        </a:p>
      </dgm:t>
    </dgm:pt>
    <dgm:pt modelId="{10715C3A-BC7D-43C9-92AF-514F5632B4FF}" type="pres">
      <dgm:prSet presAssocID="{F8A5C5AE-7DFB-409B-B805-1D5474D7D509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DDB29B-2D45-4199-A7EA-45D54274C428}" type="pres">
      <dgm:prSet presAssocID="{F8A5C5AE-7DFB-409B-B805-1D5474D7D509}" presName="dummy" presStyleCnt="0"/>
      <dgm:spPr/>
    </dgm:pt>
    <dgm:pt modelId="{E216A45A-3AE6-4FD8-AB19-7AE1AEAB171E}" type="pres">
      <dgm:prSet presAssocID="{60ACE021-57F7-4C61-A70D-3ECAFA55F1C6}" presName="sibTrans" presStyleLbl="sibTrans2D1" presStyleIdx="2" presStyleCnt="4"/>
      <dgm:spPr/>
      <dgm:t>
        <a:bodyPr/>
        <a:lstStyle/>
        <a:p>
          <a:endParaRPr lang="en-US"/>
        </a:p>
      </dgm:t>
    </dgm:pt>
    <dgm:pt modelId="{58411C30-E819-4C1E-993F-1C6005F2B92B}" type="pres">
      <dgm:prSet presAssocID="{E4644DD5-D5AB-4E47-8707-97B65870CB6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9A9A72-6281-44E2-97BB-95B4538F2443}" type="pres">
      <dgm:prSet presAssocID="{E4644DD5-D5AB-4E47-8707-97B65870CB67}" presName="dummy" presStyleCnt="0"/>
      <dgm:spPr/>
    </dgm:pt>
    <dgm:pt modelId="{3BB73FB2-28E0-4766-AED5-14EDE3484E34}" type="pres">
      <dgm:prSet presAssocID="{6915C13E-81C7-4B51-96DB-C526E5CB8C55}" presName="sibTrans" presStyleLbl="sibTrans2D1" presStyleIdx="3" presStyleCnt="4"/>
      <dgm:spPr/>
      <dgm:t>
        <a:bodyPr/>
        <a:lstStyle/>
        <a:p>
          <a:endParaRPr lang="en-US"/>
        </a:p>
      </dgm:t>
    </dgm:pt>
  </dgm:ptLst>
  <dgm:cxnLst>
    <dgm:cxn modelId="{862CF12D-E595-444F-8EA7-8043BD8E878B}" type="presOf" srcId="{E4644DD5-D5AB-4E47-8707-97B65870CB67}" destId="{58411C30-E819-4C1E-993F-1C6005F2B92B}" srcOrd="0" destOrd="0" presId="urn:microsoft.com/office/officeart/2005/8/layout/radial6"/>
    <dgm:cxn modelId="{190A69F2-5F01-4800-B544-B57FFE4EE4E1}" srcId="{11E6CE7E-8A2F-490C-9565-1839A8E98FDF}" destId="{2D8C59C2-AA95-472C-A7B0-54D058B557E9}" srcOrd="0" destOrd="0" parTransId="{AD965EB4-17B6-4D99-BD79-85B2EED072D5}" sibTransId="{397C7682-4ACB-4963-AC90-EE98C8EE5995}"/>
    <dgm:cxn modelId="{C7ADFF81-F5DE-4059-8ED5-40FE3E3C72D8}" type="presOf" srcId="{11E6CE7E-8A2F-490C-9565-1839A8E98FDF}" destId="{E819CA9E-4DA3-4D1D-B5D0-45B4617FE3DA}" srcOrd="0" destOrd="0" presId="urn:microsoft.com/office/officeart/2005/8/layout/radial6"/>
    <dgm:cxn modelId="{F5021DAB-BEBF-458F-B4D0-BEF5FB6D06AE}" type="presOf" srcId="{F8A5C5AE-7DFB-409B-B805-1D5474D7D509}" destId="{10715C3A-BC7D-43C9-92AF-514F5632B4FF}" srcOrd="0" destOrd="0" presId="urn:microsoft.com/office/officeart/2005/8/layout/radial6"/>
    <dgm:cxn modelId="{E76CFEE2-5CE7-40C7-A107-C8A960A6D38A}" type="presOf" srcId="{2D8C59C2-AA95-472C-A7B0-54D058B557E9}" destId="{9BADF790-DEDD-4E2E-BF4D-80D76744C5BF}" srcOrd="0" destOrd="0" presId="urn:microsoft.com/office/officeart/2005/8/layout/radial6"/>
    <dgm:cxn modelId="{639212E0-3518-4336-9680-FAEE26954C6A}" type="presOf" srcId="{BE9B4C08-F763-4C4C-956B-DBCA2A590BED}" destId="{C0B82736-ADC8-45EC-95A9-AB22338C1973}" srcOrd="0" destOrd="0" presId="urn:microsoft.com/office/officeart/2005/8/layout/radial6"/>
    <dgm:cxn modelId="{4F22588A-BBAB-49F3-A2D4-C1B94781FE83}" srcId="{11E6CE7E-8A2F-490C-9565-1839A8E98FDF}" destId="{F8A5C5AE-7DFB-409B-B805-1D5474D7D509}" srcOrd="2" destOrd="0" parTransId="{44471A37-FE53-431F-ADA2-4E57989447CB}" sibTransId="{60ACE021-57F7-4C61-A70D-3ECAFA55F1C6}"/>
    <dgm:cxn modelId="{C1E25E7B-837C-49C0-9B7E-D8335DEB32DA}" srcId="{11E6CE7E-8A2F-490C-9565-1839A8E98FDF}" destId="{E4644DD5-D5AB-4E47-8707-97B65870CB67}" srcOrd="3" destOrd="0" parTransId="{BF1F2105-1659-4578-95EF-76AF24A4716A}" sibTransId="{6915C13E-81C7-4B51-96DB-C526E5CB8C55}"/>
    <dgm:cxn modelId="{8AB3EC1F-BE53-427C-9C90-A8BEEFB55B6B}" type="presOf" srcId="{397C7682-4ACB-4963-AC90-EE98C8EE5995}" destId="{50E7D2BD-8275-4458-9A06-E1BAB8183C33}" srcOrd="0" destOrd="0" presId="urn:microsoft.com/office/officeart/2005/8/layout/radial6"/>
    <dgm:cxn modelId="{DA0A6B66-004E-428B-B218-A1A63D17E60C}" type="presOf" srcId="{60ACE021-57F7-4C61-A70D-3ECAFA55F1C6}" destId="{E216A45A-3AE6-4FD8-AB19-7AE1AEAB171E}" srcOrd="0" destOrd="0" presId="urn:microsoft.com/office/officeart/2005/8/layout/radial6"/>
    <dgm:cxn modelId="{B1BF7189-E77D-4A7C-99CD-3C885FDA5B9B}" type="presOf" srcId="{687E444B-05BE-450E-9F3E-D549FD31A1D4}" destId="{5A2A72A4-B528-4B81-B94B-ECD951A155C9}" srcOrd="0" destOrd="0" presId="urn:microsoft.com/office/officeart/2005/8/layout/radial6"/>
    <dgm:cxn modelId="{46B43BD5-BBC7-4778-8A3C-CCCB0C4AAB8F}" type="presOf" srcId="{DFA911F0-09C4-49A4-9727-D89EFF6B3C8F}" destId="{21AE6BC9-63C0-4435-9BA2-68EF385BFA84}" srcOrd="0" destOrd="0" presId="urn:microsoft.com/office/officeart/2005/8/layout/radial6"/>
    <dgm:cxn modelId="{B63FF0DC-BE72-480C-A969-E72993FF77DA}" srcId="{BE9B4C08-F763-4C4C-956B-DBCA2A590BED}" destId="{11E6CE7E-8A2F-490C-9565-1839A8E98FDF}" srcOrd="0" destOrd="0" parTransId="{06156C6A-46CE-43B2-9EE4-61957B1C9A78}" sibTransId="{06A3B860-16B3-442A-A801-DA998DD2709E}"/>
    <dgm:cxn modelId="{F04D15EA-A9CD-4346-8DC7-5B28022C53CE}" srcId="{11E6CE7E-8A2F-490C-9565-1839A8E98FDF}" destId="{DFA911F0-09C4-49A4-9727-D89EFF6B3C8F}" srcOrd="1" destOrd="0" parTransId="{2011B538-EF7B-4784-ADC4-8688D21ECC7C}" sibTransId="{687E444B-05BE-450E-9F3E-D549FD31A1D4}"/>
    <dgm:cxn modelId="{0CE7A38E-B4E8-4BDD-8F74-D3CB7E25DD1D}" type="presOf" srcId="{6915C13E-81C7-4B51-96DB-C526E5CB8C55}" destId="{3BB73FB2-28E0-4766-AED5-14EDE3484E34}" srcOrd="0" destOrd="0" presId="urn:microsoft.com/office/officeart/2005/8/layout/radial6"/>
    <dgm:cxn modelId="{EB0F1FF8-D84E-455E-AEE1-110F3FCA6971}" type="presParOf" srcId="{C0B82736-ADC8-45EC-95A9-AB22338C1973}" destId="{E819CA9E-4DA3-4D1D-B5D0-45B4617FE3DA}" srcOrd="0" destOrd="0" presId="urn:microsoft.com/office/officeart/2005/8/layout/radial6"/>
    <dgm:cxn modelId="{7B74FA7E-9C5F-44B7-A66A-261317BB1B85}" type="presParOf" srcId="{C0B82736-ADC8-45EC-95A9-AB22338C1973}" destId="{9BADF790-DEDD-4E2E-BF4D-80D76744C5BF}" srcOrd="1" destOrd="0" presId="urn:microsoft.com/office/officeart/2005/8/layout/radial6"/>
    <dgm:cxn modelId="{0BA6E0AD-18C2-4C48-B4F3-F0A2736665D9}" type="presParOf" srcId="{C0B82736-ADC8-45EC-95A9-AB22338C1973}" destId="{9D16A4F5-70E2-4E0C-BF01-DABA4FB0A46C}" srcOrd="2" destOrd="0" presId="urn:microsoft.com/office/officeart/2005/8/layout/radial6"/>
    <dgm:cxn modelId="{DA9A8CD8-846E-4F03-86FF-886B9FC3E50B}" type="presParOf" srcId="{C0B82736-ADC8-45EC-95A9-AB22338C1973}" destId="{50E7D2BD-8275-4458-9A06-E1BAB8183C33}" srcOrd="3" destOrd="0" presId="urn:microsoft.com/office/officeart/2005/8/layout/radial6"/>
    <dgm:cxn modelId="{689C4676-998C-4C0C-8B72-5B1F374122AF}" type="presParOf" srcId="{C0B82736-ADC8-45EC-95A9-AB22338C1973}" destId="{21AE6BC9-63C0-4435-9BA2-68EF385BFA84}" srcOrd="4" destOrd="0" presId="urn:microsoft.com/office/officeart/2005/8/layout/radial6"/>
    <dgm:cxn modelId="{17407B45-8EB8-47AA-96E6-27A5DD0E556E}" type="presParOf" srcId="{C0B82736-ADC8-45EC-95A9-AB22338C1973}" destId="{F10D7C4D-5540-4797-BAEF-F4535769EFB8}" srcOrd="5" destOrd="0" presId="urn:microsoft.com/office/officeart/2005/8/layout/radial6"/>
    <dgm:cxn modelId="{00242565-053B-43E7-B48C-DD700F16A58F}" type="presParOf" srcId="{C0B82736-ADC8-45EC-95A9-AB22338C1973}" destId="{5A2A72A4-B528-4B81-B94B-ECD951A155C9}" srcOrd="6" destOrd="0" presId="urn:microsoft.com/office/officeart/2005/8/layout/radial6"/>
    <dgm:cxn modelId="{E71C3770-C6EA-46F7-ACFF-20D99C8B38B6}" type="presParOf" srcId="{C0B82736-ADC8-45EC-95A9-AB22338C1973}" destId="{10715C3A-BC7D-43C9-92AF-514F5632B4FF}" srcOrd="7" destOrd="0" presId="urn:microsoft.com/office/officeart/2005/8/layout/radial6"/>
    <dgm:cxn modelId="{10BBF7F7-F6B4-46CC-8B06-47CBEBCCFED8}" type="presParOf" srcId="{C0B82736-ADC8-45EC-95A9-AB22338C1973}" destId="{DEDDB29B-2D45-4199-A7EA-45D54274C428}" srcOrd="8" destOrd="0" presId="urn:microsoft.com/office/officeart/2005/8/layout/radial6"/>
    <dgm:cxn modelId="{EB152FF9-E119-40FE-9A5F-A9D5457203B0}" type="presParOf" srcId="{C0B82736-ADC8-45EC-95A9-AB22338C1973}" destId="{E216A45A-3AE6-4FD8-AB19-7AE1AEAB171E}" srcOrd="9" destOrd="0" presId="urn:microsoft.com/office/officeart/2005/8/layout/radial6"/>
    <dgm:cxn modelId="{A5D17BFC-221F-4B07-9721-A23A42A3E16C}" type="presParOf" srcId="{C0B82736-ADC8-45EC-95A9-AB22338C1973}" destId="{58411C30-E819-4C1E-993F-1C6005F2B92B}" srcOrd="10" destOrd="0" presId="urn:microsoft.com/office/officeart/2005/8/layout/radial6"/>
    <dgm:cxn modelId="{08E1BD9F-145F-4701-9FB7-707E74FB057F}" type="presParOf" srcId="{C0B82736-ADC8-45EC-95A9-AB22338C1973}" destId="{5F9A9A72-6281-44E2-97BB-95B4538F2443}" srcOrd="11" destOrd="0" presId="urn:microsoft.com/office/officeart/2005/8/layout/radial6"/>
    <dgm:cxn modelId="{DF90418E-7C32-4A28-BFAA-33257DECFEAB}" type="presParOf" srcId="{C0B82736-ADC8-45EC-95A9-AB22338C1973}" destId="{3BB73FB2-28E0-4766-AED5-14EDE3484E34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5BADF00-C586-47F1-9876-8A6ECCAFFE11}" type="doc">
      <dgm:prSet loTypeId="urn:microsoft.com/office/officeart/2005/8/layout/hProcess6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en-GB"/>
        </a:p>
      </dgm:t>
    </dgm:pt>
    <dgm:pt modelId="{6576DB34-6B6F-436A-87DB-3EEF817E391D}">
      <dgm:prSet phldrT="[Text]" phldr="0"/>
      <dgm:spPr/>
      <dgm:t>
        <a:bodyPr/>
        <a:lstStyle/>
        <a:p>
          <a:pPr rtl="0"/>
          <a:r>
            <a:rPr lang="en-GB" dirty="0">
              <a:latin typeface="Verdana"/>
            </a:rPr>
            <a:t>MARCH –DECEMBER 2020</a:t>
          </a:r>
          <a:endParaRPr lang="en-GB" dirty="0"/>
        </a:p>
      </dgm:t>
    </dgm:pt>
    <dgm:pt modelId="{648401AC-4D20-45C1-A56D-F0433DC177C8}" type="parTrans" cxnId="{6E62CA7B-F377-4BBD-A000-7A7F51513C6E}">
      <dgm:prSet/>
      <dgm:spPr/>
      <dgm:t>
        <a:bodyPr/>
        <a:lstStyle/>
        <a:p>
          <a:endParaRPr lang="en-GB"/>
        </a:p>
      </dgm:t>
    </dgm:pt>
    <dgm:pt modelId="{5968992F-8B32-433C-95BA-60801264F850}" type="sibTrans" cxnId="{6E62CA7B-F377-4BBD-A000-7A7F51513C6E}">
      <dgm:prSet/>
      <dgm:spPr/>
      <dgm:t>
        <a:bodyPr/>
        <a:lstStyle/>
        <a:p>
          <a:endParaRPr lang="en-GB"/>
        </a:p>
      </dgm:t>
    </dgm:pt>
    <dgm:pt modelId="{82A0BB72-79BD-4943-98B8-38051208D463}">
      <dgm:prSet phldrT="[Text]" phldr="0"/>
      <dgm:spPr/>
      <dgm:t>
        <a:bodyPr/>
        <a:lstStyle/>
        <a:p>
          <a:pPr rtl="0"/>
          <a:r>
            <a:rPr lang="en-GB">
              <a:latin typeface="Verdana"/>
            </a:rPr>
            <a:t>Updated and improved classification</a:t>
          </a:r>
          <a:endParaRPr lang="en-GB"/>
        </a:p>
      </dgm:t>
    </dgm:pt>
    <dgm:pt modelId="{41B64C16-691F-40FC-A04B-8F11B1C94573}" type="parTrans" cxnId="{688ED126-EF7B-45D6-BD09-C613686C6BAC}">
      <dgm:prSet/>
      <dgm:spPr/>
      <dgm:t>
        <a:bodyPr/>
        <a:lstStyle/>
        <a:p>
          <a:endParaRPr lang="en-GB"/>
        </a:p>
      </dgm:t>
    </dgm:pt>
    <dgm:pt modelId="{DCB9096C-6123-4E05-9481-94C53AE9A790}" type="sibTrans" cxnId="{688ED126-EF7B-45D6-BD09-C613686C6BAC}">
      <dgm:prSet/>
      <dgm:spPr/>
      <dgm:t>
        <a:bodyPr/>
        <a:lstStyle/>
        <a:p>
          <a:endParaRPr lang="en-GB"/>
        </a:p>
      </dgm:t>
    </dgm:pt>
    <dgm:pt modelId="{8F0FA653-9E43-4EDB-85F7-EF621001946F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JANUARY 2021</a:t>
          </a:r>
        </a:p>
      </dgm:t>
    </dgm:pt>
    <dgm:pt modelId="{6B977513-458D-404D-BD8A-AA248D3982BF}" type="parTrans" cxnId="{9EF66116-EDE1-463E-A895-D2598D5761B7}">
      <dgm:prSet/>
      <dgm:spPr/>
    </dgm:pt>
    <dgm:pt modelId="{AB8537AC-A9D5-4E45-AF40-608EC9FE0A8F}" type="sibTrans" cxnId="{9EF66116-EDE1-463E-A895-D2598D5761B7}">
      <dgm:prSet/>
      <dgm:spPr/>
    </dgm:pt>
    <dgm:pt modelId="{0B63B5FF-97F1-4993-88B5-68B160D90D37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Open call for feedback (Maintenance Committee and external stakeholders)</a:t>
          </a:r>
          <a:endParaRPr lang="en-GB" dirty="0"/>
        </a:p>
      </dgm:t>
    </dgm:pt>
    <dgm:pt modelId="{52C668B6-FA3A-4066-9EC8-B6B8ACEA0A81}" type="parTrans" cxnId="{F11E019C-1EB2-4B4C-B01E-AE64180A5665}">
      <dgm:prSet/>
      <dgm:spPr/>
    </dgm:pt>
    <dgm:pt modelId="{B49590D8-143A-4A51-9892-33BD302EC628}" type="sibTrans" cxnId="{F11E019C-1EB2-4B4C-B01E-AE64180A5665}">
      <dgm:prSet/>
      <dgm:spPr/>
    </dgm:pt>
    <dgm:pt modelId="{BB6362F6-5C33-4735-A933-E7E987FDDB14}" type="pres">
      <dgm:prSet presAssocID="{65BADF00-C586-47F1-9876-8A6ECCAFFE1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C7113E4-FE48-4998-A0A6-1A0B2FBD8C92}" type="pres">
      <dgm:prSet presAssocID="{6576DB34-6B6F-436A-87DB-3EEF817E391D}" presName="compNode" presStyleCnt="0"/>
      <dgm:spPr/>
    </dgm:pt>
    <dgm:pt modelId="{0C54D8D0-C399-4468-A2E0-EE1E4C619EC0}" type="pres">
      <dgm:prSet presAssocID="{6576DB34-6B6F-436A-87DB-3EEF817E391D}" presName="noGeometry" presStyleCnt="0"/>
      <dgm:spPr/>
    </dgm:pt>
    <dgm:pt modelId="{96454D55-A1E5-469A-A917-DFD8E280B638}" type="pres">
      <dgm:prSet presAssocID="{6576DB34-6B6F-436A-87DB-3EEF817E391D}" presName="childTextVisible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E4EB26-09BD-4478-A17E-D253B8A1C158}" type="pres">
      <dgm:prSet presAssocID="{6576DB34-6B6F-436A-87DB-3EEF817E391D}" presName="childTextHidden" presStyleLbl="bgAccFollowNode1" presStyleIdx="0" presStyleCnt="2"/>
      <dgm:spPr/>
      <dgm:t>
        <a:bodyPr/>
        <a:lstStyle/>
        <a:p>
          <a:endParaRPr lang="en-US"/>
        </a:p>
      </dgm:t>
    </dgm:pt>
    <dgm:pt modelId="{406FDB3B-8DB7-475B-9C0D-0AF42ED4720D}" type="pres">
      <dgm:prSet presAssocID="{6576DB34-6B6F-436A-87DB-3EEF817E391D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48C05E-B39D-4FD8-8C14-FF0D798F54F5}" type="pres">
      <dgm:prSet presAssocID="{6576DB34-6B6F-436A-87DB-3EEF817E391D}" presName="aSpace" presStyleCnt="0"/>
      <dgm:spPr/>
    </dgm:pt>
    <dgm:pt modelId="{9A959752-07DC-4A0C-8445-F5379BA99FEE}" type="pres">
      <dgm:prSet presAssocID="{8F0FA653-9E43-4EDB-85F7-EF621001946F}" presName="compNode" presStyleCnt="0"/>
      <dgm:spPr/>
    </dgm:pt>
    <dgm:pt modelId="{B34C1625-0208-4658-9F33-BA45E8ED8649}" type="pres">
      <dgm:prSet presAssocID="{8F0FA653-9E43-4EDB-85F7-EF621001946F}" presName="noGeometry" presStyleCnt="0"/>
      <dgm:spPr/>
    </dgm:pt>
    <dgm:pt modelId="{8C6FE111-EC3B-4A2A-8681-4ECE06225E0D}" type="pres">
      <dgm:prSet presAssocID="{8F0FA653-9E43-4EDB-85F7-EF621001946F}" presName="childTextVisible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86D013-443A-44E3-AC00-8A7003E34029}" type="pres">
      <dgm:prSet presAssocID="{8F0FA653-9E43-4EDB-85F7-EF621001946F}" presName="childTextHidden" presStyleLbl="bgAccFollowNode1" presStyleIdx="1" presStyleCnt="2"/>
      <dgm:spPr/>
      <dgm:t>
        <a:bodyPr/>
        <a:lstStyle/>
        <a:p>
          <a:endParaRPr lang="en-US"/>
        </a:p>
      </dgm:t>
    </dgm:pt>
    <dgm:pt modelId="{E0E5A134-8BC1-471B-96D5-02128150AC8C}" type="pres">
      <dgm:prSet presAssocID="{8F0FA653-9E43-4EDB-85F7-EF621001946F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33B66D-76EE-40B3-827F-CF2716802F5B}" type="presOf" srcId="{82A0BB72-79BD-4943-98B8-38051208D463}" destId="{B9E4EB26-09BD-4478-A17E-D253B8A1C158}" srcOrd="1" destOrd="0" presId="urn:microsoft.com/office/officeart/2005/8/layout/hProcess6"/>
    <dgm:cxn modelId="{688ED126-EF7B-45D6-BD09-C613686C6BAC}" srcId="{6576DB34-6B6F-436A-87DB-3EEF817E391D}" destId="{82A0BB72-79BD-4943-98B8-38051208D463}" srcOrd="0" destOrd="0" parTransId="{41B64C16-691F-40FC-A04B-8F11B1C94573}" sibTransId="{DCB9096C-6123-4E05-9481-94C53AE9A790}"/>
    <dgm:cxn modelId="{5D267539-30CB-4212-ACC4-B36A8C1186D9}" type="presOf" srcId="{0B63B5FF-97F1-4993-88B5-68B160D90D37}" destId="{2B86D013-443A-44E3-AC00-8A7003E34029}" srcOrd="1" destOrd="0" presId="urn:microsoft.com/office/officeart/2005/8/layout/hProcess6"/>
    <dgm:cxn modelId="{6E62CA7B-F377-4BBD-A000-7A7F51513C6E}" srcId="{65BADF00-C586-47F1-9876-8A6ECCAFFE11}" destId="{6576DB34-6B6F-436A-87DB-3EEF817E391D}" srcOrd="0" destOrd="0" parTransId="{648401AC-4D20-45C1-A56D-F0433DC177C8}" sibTransId="{5968992F-8B32-433C-95BA-60801264F850}"/>
    <dgm:cxn modelId="{7F893B55-2947-4E5E-A683-A0909C4D03C5}" type="presOf" srcId="{0B63B5FF-97F1-4993-88B5-68B160D90D37}" destId="{8C6FE111-EC3B-4A2A-8681-4ECE06225E0D}" srcOrd="0" destOrd="0" presId="urn:microsoft.com/office/officeart/2005/8/layout/hProcess6"/>
    <dgm:cxn modelId="{9EF66116-EDE1-463E-A895-D2598D5761B7}" srcId="{65BADF00-C586-47F1-9876-8A6ECCAFFE11}" destId="{8F0FA653-9E43-4EDB-85F7-EF621001946F}" srcOrd="1" destOrd="0" parTransId="{6B977513-458D-404D-BD8A-AA248D3982BF}" sibTransId="{AB8537AC-A9D5-4E45-AF40-608EC9FE0A8F}"/>
    <dgm:cxn modelId="{F77C2140-FF03-4DB7-99F7-B8049729B8DA}" type="presOf" srcId="{6576DB34-6B6F-436A-87DB-3EEF817E391D}" destId="{406FDB3B-8DB7-475B-9C0D-0AF42ED4720D}" srcOrd="0" destOrd="0" presId="urn:microsoft.com/office/officeart/2005/8/layout/hProcess6"/>
    <dgm:cxn modelId="{F11E019C-1EB2-4B4C-B01E-AE64180A5665}" srcId="{8F0FA653-9E43-4EDB-85F7-EF621001946F}" destId="{0B63B5FF-97F1-4993-88B5-68B160D90D37}" srcOrd="0" destOrd="0" parTransId="{52C668B6-FA3A-4066-9EC8-B6B8ACEA0A81}" sibTransId="{B49590D8-143A-4A51-9892-33BD302EC628}"/>
    <dgm:cxn modelId="{2E3D27B8-7B2C-47C5-BDFC-EC5329BCF691}" type="presOf" srcId="{82A0BB72-79BD-4943-98B8-38051208D463}" destId="{96454D55-A1E5-469A-A917-DFD8E280B638}" srcOrd="0" destOrd="0" presId="urn:microsoft.com/office/officeart/2005/8/layout/hProcess6"/>
    <dgm:cxn modelId="{A0EF83B8-4DCE-4373-97B1-5B8FA0F6B022}" type="presOf" srcId="{8F0FA653-9E43-4EDB-85F7-EF621001946F}" destId="{E0E5A134-8BC1-471B-96D5-02128150AC8C}" srcOrd="0" destOrd="0" presId="urn:microsoft.com/office/officeart/2005/8/layout/hProcess6"/>
    <dgm:cxn modelId="{1D8B2D93-A6B3-4A8E-8A14-BB0C757F34CA}" type="presOf" srcId="{65BADF00-C586-47F1-9876-8A6ECCAFFE11}" destId="{BB6362F6-5C33-4735-A933-E7E987FDDB14}" srcOrd="0" destOrd="0" presId="urn:microsoft.com/office/officeart/2005/8/layout/hProcess6"/>
    <dgm:cxn modelId="{940F3EF4-147C-4C11-9251-AD670883F596}" type="presParOf" srcId="{BB6362F6-5C33-4735-A933-E7E987FDDB14}" destId="{EC7113E4-FE48-4998-A0A6-1A0B2FBD8C92}" srcOrd="0" destOrd="0" presId="urn:microsoft.com/office/officeart/2005/8/layout/hProcess6"/>
    <dgm:cxn modelId="{69738096-A69D-4EF4-B8E1-FED03B21B639}" type="presParOf" srcId="{EC7113E4-FE48-4998-A0A6-1A0B2FBD8C92}" destId="{0C54D8D0-C399-4468-A2E0-EE1E4C619EC0}" srcOrd="0" destOrd="0" presId="urn:microsoft.com/office/officeart/2005/8/layout/hProcess6"/>
    <dgm:cxn modelId="{CA8F2EEF-90F0-4EB4-A08D-B5A97CFCE9FC}" type="presParOf" srcId="{EC7113E4-FE48-4998-A0A6-1A0B2FBD8C92}" destId="{96454D55-A1E5-469A-A917-DFD8E280B638}" srcOrd="1" destOrd="0" presId="urn:microsoft.com/office/officeart/2005/8/layout/hProcess6"/>
    <dgm:cxn modelId="{17347CDB-6CB4-4C63-92A2-F98959CEA151}" type="presParOf" srcId="{EC7113E4-FE48-4998-A0A6-1A0B2FBD8C92}" destId="{B9E4EB26-09BD-4478-A17E-D253B8A1C158}" srcOrd="2" destOrd="0" presId="urn:microsoft.com/office/officeart/2005/8/layout/hProcess6"/>
    <dgm:cxn modelId="{C683E21C-9FD9-4882-B764-91C57395876E}" type="presParOf" srcId="{EC7113E4-FE48-4998-A0A6-1A0B2FBD8C92}" destId="{406FDB3B-8DB7-475B-9C0D-0AF42ED4720D}" srcOrd="3" destOrd="0" presId="urn:microsoft.com/office/officeart/2005/8/layout/hProcess6"/>
    <dgm:cxn modelId="{5E0ADB53-86A9-487E-95EE-3CEA8D27EB40}" type="presParOf" srcId="{BB6362F6-5C33-4735-A933-E7E987FDDB14}" destId="{AD48C05E-B39D-4FD8-8C14-FF0D798F54F5}" srcOrd="1" destOrd="0" presId="urn:microsoft.com/office/officeart/2005/8/layout/hProcess6"/>
    <dgm:cxn modelId="{3BC9A9AC-8D59-4553-BCCA-415ECF5F5972}" type="presParOf" srcId="{BB6362F6-5C33-4735-A933-E7E987FDDB14}" destId="{9A959752-07DC-4A0C-8445-F5379BA99FEE}" srcOrd="2" destOrd="0" presId="urn:microsoft.com/office/officeart/2005/8/layout/hProcess6"/>
    <dgm:cxn modelId="{C1D9AB09-F3BB-468F-BE63-3C114D6F54D5}" type="presParOf" srcId="{9A959752-07DC-4A0C-8445-F5379BA99FEE}" destId="{B34C1625-0208-4658-9F33-BA45E8ED8649}" srcOrd="0" destOrd="0" presId="urn:microsoft.com/office/officeart/2005/8/layout/hProcess6"/>
    <dgm:cxn modelId="{B442ED9F-45D7-49E6-B8B4-B6E1FA63F3C9}" type="presParOf" srcId="{9A959752-07DC-4A0C-8445-F5379BA99FEE}" destId="{8C6FE111-EC3B-4A2A-8681-4ECE06225E0D}" srcOrd="1" destOrd="0" presId="urn:microsoft.com/office/officeart/2005/8/layout/hProcess6"/>
    <dgm:cxn modelId="{B44B707B-AFDA-40FD-8270-EAA34E9E40DE}" type="presParOf" srcId="{9A959752-07DC-4A0C-8445-F5379BA99FEE}" destId="{2B86D013-443A-44E3-AC00-8A7003E34029}" srcOrd="2" destOrd="0" presId="urn:microsoft.com/office/officeart/2005/8/layout/hProcess6"/>
    <dgm:cxn modelId="{3ABD7F17-218C-4396-98E9-FEB6E942E320}" type="presParOf" srcId="{9A959752-07DC-4A0C-8445-F5379BA99FEE}" destId="{E0E5A134-8BC1-471B-96D5-02128150AC8C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5BADF00-C586-47F1-9876-8A6ECCAFFE11}" type="doc">
      <dgm:prSet loTypeId="urn:microsoft.com/office/officeart/2005/8/layout/hProcess6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en-GB"/>
        </a:p>
      </dgm:t>
    </dgm:pt>
    <dgm:pt modelId="{F8DBB65F-E920-4FA0-9F13-33E27477243A}">
      <dgm:prSet phldrT="[Text]" phldr="0"/>
      <dgm:spPr/>
      <dgm:t>
        <a:bodyPr/>
        <a:lstStyle/>
        <a:p>
          <a:pPr rtl="0"/>
          <a:r>
            <a:rPr lang="en-GB" dirty="0">
              <a:latin typeface="Verdana"/>
            </a:rPr>
            <a:t>FEBRUARY 2021</a:t>
          </a:r>
          <a:endParaRPr lang="en-GB" dirty="0"/>
        </a:p>
      </dgm:t>
    </dgm:pt>
    <dgm:pt modelId="{63FDF808-B147-415B-8C42-47C016C6CE72}" type="parTrans" cxnId="{3D89A8E8-F2D8-4CDE-8430-B1D706C591DF}">
      <dgm:prSet/>
      <dgm:spPr/>
      <dgm:t>
        <a:bodyPr/>
        <a:lstStyle/>
        <a:p>
          <a:endParaRPr lang="en-GB"/>
        </a:p>
      </dgm:t>
    </dgm:pt>
    <dgm:pt modelId="{58488A5F-C8F2-4745-A600-4E2826586C95}" type="sibTrans" cxnId="{3D89A8E8-F2D8-4CDE-8430-B1D706C591DF}">
      <dgm:prSet/>
      <dgm:spPr/>
      <dgm:t>
        <a:bodyPr/>
        <a:lstStyle/>
        <a:p>
          <a:endParaRPr lang="en-GB"/>
        </a:p>
      </dgm:t>
    </dgm:pt>
    <dgm:pt modelId="{4E3B6065-7588-4FAE-B4C6-F49C747798FC}">
      <dgm:prSet phldrT="[Text]" phldr="0"/>
      <dgm:spPr/>
      <dgm:t>
        <a:bodyPr/>
        <a:lstStyle/>
        <a:p>
          <a:pPr rtl="0"/>
          <a:r>
            <a:rPr lang="en-GB">
              <a:latin typeface="Verdana"/>
            </a:rPr>
            <a:t>Consultation with Member States</a:t>
          </a:r>
          <a:endParaRPr lang="en-GB"/>
        </a:p>
      </dgm:t>
    </dgm:pt>
    <dgm:pt modelId="{FF9B1A76-453F-452A-AA9D-C9E12EE18121}" type="parTrans" cxnId="{A13ACB37-699B-4567-B377-D146B8EB95F4}">
      <dgm:prSet/>
      <dgm:spPr/>
      <dgm:t>
        <a:bodyPr/>
        <a:lstStyle/>
        <a:p>
          <a:endParaRPr lang="en-GB"/>
        </a:p>
      </dgm:t>
    </dgm:pt>
    <dgm:pt modelId="{DC7B6579-5E6C-420C-AE59-87E8BD522D76}" type="sibTrans" cxnId="{A13ACB37-699B-4567-B377-D146B8EB95F4}">
      <dgm:prSet/>
      <dgm:spPr/>
      <dgm:t>
        <a:bodyPr/>
        <a:lstStyle/>
        <a:p>
          <a:endParaRPr lang="en-GB"/>
        </a:p>
      </dgm:t>
    </dgm:pt>
    <dgm:pt modelId="{F7BD1C98-C19C-4E7B-8409-82F85BD5834B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MARCH – NOVEMBER 2021</a:t>
          </a:r>
        </a:p>
      </dgm:t>
    </dgm:pt>
    <dgm:pt modelId="{D1E27913-C54F-4A62-9A06-6C2E91EE0030}" type="parTrans" cxnId="{8AE3B1CE-A36B-4E18-9584-22EA4A00E60A}">
      <dgm:prSet/>
      <dgm:spPr/>
    </dgm:pt>
    <dgm:pt modelId="{450F41A7-1C32-4D29-9EFC-6FB030097C10}" type="sibTrans" cxnId="{8AE3B1CE-A36B-4E18-9584-22EA4A00E60A}">
      <dgm:prSet/>
      <dgm:spPr/>
    </dgm:pt>
    <dgm:pt modelId="{8C496425-F9F7-4265-81E1-0738CE5A686C}">
      <dgm:prSet phldr="0"/>
      <dgm:spPr/>
      <dgm:t>
        <a:bodyPr/>
        <a:lstStyle/>
        <a:p>
          <a:r>
            <a:rPr lang="en-GB" dirty="0">
              <a:latin typeface="Verdana"/>
            </a:rPr>
            <a:t>Translation</a:t>
          </a:r>
        </a:p>
      </dgm:t>
    </dgm:pt>
    <dgm:pt modelId="{383ACF20-4CE9-44D8-911B-68E4071C124E}" type="parTrans" cxnId="{FA2B66AB-E330-4C2B-988F-5B247B9EF389}">
      <dgm:prSet/>
      <dgm:spPr/>
    </dgm:pt>
    <dgm:pt modelId="{CF66F24D-1834-44B4-8E29-686FC0AFA149}" type="sibTrans" cxnId="{FA2B66AB-E330-4C2B-988F-5B247B9EF389}">
      <dgm:prSet/>
      <dgm:spPr/>
    </dgm:pt>
    <dgm:pt modelId="{2F5434A7-CA6C-4214-BBFC-812A6DD7D4D2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Consultation with MS on translations</a:t>
          </a:r>
        </a:p>
      </dgm:t>
    </dgm:pt>
    <dgm:pt modelId="{E366D3A2-8C64-4A21-8A0F-505D1E469C26}" type="parTrans" cxnId="{1688EFFF-6973-4D86-8F0C-15E54A92AC63}">
      <dgm:prSet/>
      <dgm:spPr/>
    </dgm:pt>
    <dgm:pt modelId="{F31B50A3-7A34-4545-9A37-2A8AD6C850B5}" type="sibTrans" cxnId="{1688EFFF-6973-4D86-8F0C-15E54A92AC63}">
      <dgm:prSet/>
      <dgm:spPr/>
    </dgm:pt>
    <dgm:pt modelId="{F14EB1CD-C000-4741-A611-4404B331B98C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DECEMBER 2021</a:t>
          </a:r>
        </a:p>
      </dgm:t>
    </dgm:pt>
    <dgm:pt modelId="{F41C0D1C-E3C7-4C66-A94C-5A31AC8FD586}" type="parTrans" cxnId="{44F2BC3E-9CAB-44E1-93D0-4ADD5D79D189}">
      <dgm:prSet/>
      <dgm:spPr/>
    </dgm:pt>
    <dgm:pt modelId="{4E135298-3615-44B4-952A-2ADB9DF828FE}" type="sibTrans" cxnId="{44F2BC3E-9CAB-44E1-93D0-4ADD5D79D189}">
      <dgm:prSet/>
      <dgm:spPr/>
    </dgm:pt>
    <dgm:pt modelId="{B63775EF-4020-4DB9-A1F3-41F26BF02947}">
      <dgm:prSet phldr="0"/>
      <dgm:spPr/>
      <dgm:t>
        <a:bodyPr/>
        <a:lstStyle/>
        <a:p>
          <a:pPr rtl="0"/>
          <a:r>
            <a:rPr lang="en-GB" dirty="0">
              <a:latin typeface="Verdana"/>
            </a:rPr>
            <a:t>ESCO v1.1 goes live</a:t>
          </a:r>
        </a:p>
      </dgm:t>
    </dgm:pt>
    <dgm:pt modelId="{834FE664-5057-46C4-853B-1745AC428E2B}" type="parTrans" cxnId="{4CBDC7D9-5148-47F8-AB13-14B1908D6694}">
      <dgm:prSet/>
      <dgm:spPr/>
    </dgm:pt>
    <dgm:pt modelId="{F77052BE-4699-48AB-B004-F3BFF8FD8BF7}" type="sibTrans" cxnId="{4CBDC7D9-5148-47F8-AB13-14B1908D6694}">
      <dgm:prSet/>
      <dgm:spPr/>
    </dgm:pt>
    <dgm:pt modelId="{BB6362F6-5C33-4735-A933-E7E987FDDB14}" type="pres">
      <dgm:prSet presAssocID="{65BADF00-C586-47F1-9876-8A6ECCAFFE1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4761AC-961B-47ED-9AC7-D528F071D151}" type="pres">
      <dgm:prSet presAssocID="{F8DBB65F-E920-4FA0-9F13-33E27477243A}" presName="compNode" presStyleCnt="0"/>
      <dgm:spPr/>
    </dgm:pt>
    <dgm:pt modelId="{C242C015-9D29-4661-8172-1ABD1D74565F}" type="pres">
      <dgm:prSet presAssocID="{F8DBB65F-E920-4FA0-9F13-33E27477243A}" presName="noGeometry" presStyleCnt="0"/>
      <dgm:spPr/>
    </dgm:pt>
    <dgm:pt modelId="{312F95A8-0D00-49CC-9AE1-C855BF8EA21C}" type="pres">
      <dgm:prSet presAssocID="{F8DBB65F-E920-4FA0-9F13-33E27477243A}" presName="childTextVisible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799B7B-7D66-4A20-8F1B-C578B9F9F2C3}" type="pres">
      <dgm:prSet presAssocID="{F8DBB65F-E920-4FA0-9F13-33E27477243A}" presName="childTextHidden" presStyleLbl="bgAccFollowNode1" presStyleIdx="0" presStyleCnt="3"/>
      <dgm:spPr/>
      <dgm:t>
        <a:bodyPr/>
        <a:lstStyle/>
        <a:p>
          <a:endParaRPr lang="en-US"/>
        </a:p>
      </dgm:t>
    </dgm:pt>
    <dgm:pt modelId="{9F90D68F-5FF2-41E4-A95E-405312294B89}" type="pres">
      <dgm:prSet presAssocID="{F8DBB65F-E920-4FA0-9F13-33E27477243A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82356E-5495-484A-BA13-F6345442056C}" type="pres">
      <dgm:prSet presAssocID="{F8DBB65F-E920-4FA0-9F13-33E27477243A}" presName="aSpace" presStyleCnt="0"/>
      <dgm:spPr/>
    </dgm:pt>
    <dgm:pt modelId="{2348C79F-86FE-454D-83CC-F65B476BBFE3}" type="pres">
      <dgm:prSet presAssocID="{F7BD1C98-C19C-4E7B-8409-82F85BD5834B}" presName="compNode" presStyleCnt="0"/>
      <dgm:spPr/>
    </dgm:pt>
    <dgm:pt modelId="{813C6264-A8A0-4DD2-874B-65120E277416}" type="pres">
      <dgm:prSet presAssocID="{F7BD1C98-C19C-4E7B-8409-82F85BD5834B}" presName="noGeometry" presStyleCnt="0"/>
      <dgm:spPr/>
    </dgm:pt>
    <dgm:pt modelId="{F98BD22A-5490-4911-83EF-CAFBDBA8E438}" type="pres">
      <dgm:prSet presAssocID="{F7BD1C98-C19C-4E7B-8409-82F85BD5834B}" presName="childTextVisible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F78B3-0AFF-44A3-9E19-E9BA7FA78257}" type="pres">
      <dgm:prSet presAssocID="{F7BD1C98-C19C-4E7B-8409-82F85BD5834B}" presName="childTextHidden" presStyleLbl="bgAccFollowNode1" presStyleIdx="1" presStyleCnt="3"/>
      <dgm:spPr/>
      <dgm:t>
        <a:bodyPr/>
        <a:lstStyle/>
        <a:p>
          <a:endParaRPr lang="en-US"/>
        </a:p>
      </dgm:t>
    </dgm:pt>
    <dgm:pt modelId="{4CA5AB5E-D177-4B47-A762-4674E88570F7}" type="pres">
      <dgm:prSet presAssocID="{F7BD1C98-C19C-4E7B-8409-82F85BD5834B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22DCA6-AD19-49D4-9B25-80CDA3E48036}" type="pres">
      <dgm:prSet presAssocID="{F7BD1C98-C19C-4E7B-8409-82F85BD5834B}" presName="aSpace" presStyleCnt="0"/>
      <dgm:spPr/>
    </dgm:pt>
    <dgm:pt modelId="{4587F8E8-014A-4764-9EA0-8CC15B085A87}" type="pres">
      <dgm:prSet presAssocID="{F14EB1CD-C000-4741-A611-4404B331B98C}" presName="compNode" presStyleCnt="0"/>
      <dgm:spPr/>
    </dgm:pt>
    <dgm:pt modelId="{992B0A00-A05B-4BB9-B948-52146155E8F4}" type="pres">
      <dgm:prSet presAssocID="{F14EB1CD-C000-4741-A611-4404B331B98C}" presName="noGeometry" presStyleCnt="0"/>
      <dgm:spPr/>
    </dgm:pt>
    <dgm:pt modelId="{8C74DC13-77AE-482B-96AD-73A0C2159190}" type="pres">
      <dgm:prSet presAssocID="{F14EB1CD-C000-4741-A611-4404B331B98C}" presName="childTextVisible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22973B-84FF-43AD-9EF7-7FF63ECD03DC}" type="pres">
      <dgm:prSet presAssocID="{F14EB1CD-C000-4741-A611-4404B331B98C}" presName="childTextHidden" presStyleLbl="bgAccFollowNode1" presStyleIdx="2" presStyleCnt="3"/>
      <dgm:spPr/>
      <dgm:t>
        <a:bodyPr/>
        <a:lstStyle/>
        <a:p>
          <a:endParaRPr lang="en-US"/>
        </a:p>
      </dgm:t>
    </dgm:pt>
    <dgm:pt modelId="{7DABB3BC-4BD0-4228-B0F0-D5FC7B78A29E}" type="pres">
      <dgm:prSet presAssocID="{F14EB1CD-C000-4741-A611-4404B331B98C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AE3B1CE-A36B-4E18-9584-22EA4A00E60A}" srcId="{65BADF00-C586-47F1-9876-8A6ECCAFFE11}" destId="{F7BD1C98-C19C-4E7B-8409-82F85BD5834B}" srcOrd="1" destOrd="0" parTransId="{D1E27913-C54F-4A62-9A06-6C2E91EE0030}" sibTransId="{450F41A7-1C32-4D29-9EFC-6FB030097C10}"/>
    <dgm:cxn modelId="{12009084-131A-4092-B5CB-DC55A190AE4C}" type="presOf" srcId="{F14EB1CD-C000-4741-A611-4404B331B98C}" destId="{7DABB3BC-4BD0-4228-B0F0-D5FC7B78A29E}" srcOrd="0" destOrd="0" presId="urn:microsoft.com/office/officeart/2005/8/layout/hProcess6"/>
    <dgm:cxn modelId="{22AB232E-6927-4B23-A30E-4E0E2FA7E319}" type="presOf" srcId="{F8DBB65F-E920-4FA0-9F13-33E27477243A}" destId="{9F90D68F-5FF2-41E4-A95E-405312294B89}" srcOrd="0" destOrd="0" presId="urn:microsoft.com/office/officeart/2005/8/layout/hProcess6"/>
    <dgm:cxn modelId="{9CE24A14-A55A-4253-B331-15E548D2ACF6}" type="presOf" srcId="{4E3B6065-7588-4FAE-B4C6-F49C747798FC}" destId="{88799B7B-7D66-4A20-8F1B-C578B9F9F2C3}" srcOrd="1" destOrd="0" presId="urn:microsoft.com/office/officeart/2005/8/layout/hProcess6"/>
    <dgm:cxn modelId="{1F9E5CED-1CB6-44BF-BA9E-5AC9ABE9C568}" type="presOf" srcId="{4E3B6065-7588-4FAE-B4C6-F49C747798FC}" destId="{312F95A8-0D00-49CC-9AE1-C855BF8EA21C}" srcOrd="0" destOrd="0" presId="urn:microsoft.com/office/officeart/2005/8/layout/hProcess6"/>
    <dgm:cxn modelId="{4CBDC7D9-5148-47F8-AB13-14B1908D6694}" srcId="{F14EB1CD-C000-4741-A611-4404B331B98C}" destId="{B63775EF-4020-4DB9-A1F3-41F26BF02947}" srcOrd="0" destOrd="0" parTransId="{834FE664-5057-46C4-853B-1745AC428E2B}" sibTransId="{F77052BE-4699-48AB-B004-F3BFF8FD8BF7}"/>
    <dgm:cxn modelId="{A13ACB37-699B-4567-B377-D146B8EB95F4}" srcId="{F8DBB65F-E920-4FA0-9F13-33E27477243A}" destId="{4E3B6065-7588-4FAE-B4C6-F49C747798FC}" srcOrd="0" destOrd="0" parTransId="{FF9B1A76-453F-452A-AA9D-C9E12EE18121}" sibTransId="{DC7B6579-5E6C-420C-AE59-87E8BD522D76}"/>
    <dgm:cxn modelId="{AD9AFBD1-214B-4024-82F0-F0EA85C9CC10}" type="presOf" srcId="{2F5434A7-CA6C-4214-BBFC-812A6DD7D4D2}" destId="{F98BD22A-5490-4911-83EF-CAFBDBA8E438}" srcOrd="0" destOrd="1" presId="urn:microsoft.com/office/officeart/2005/8/layout/hProcess6"/>
    <dgm:cxn modelId="{013BB8C5-EE9E-427C-B31E-9AF103179F8C}" type="presOf" srcId="{8C496425-F9F7-4265-81E1-0738CE5A686C}" destId="{F98BD22A-5490-4911-83EF-CAFBDBA8E438}" srcOrd="0" destOrd="0" presId="urn:microsoft.com/office/officeart/2005/8/layout/hProcess6"/>
    <dgm:cxn modelId="{1688EFFF-6973-4D86-8F0C-15E54A92AC63}" srcId="{F7BD1C98-C19C-4E7B-8409-82F85BD5834B}" destId="{2F5434A7-CA6C-4214-BBFC-812A6DD7D4D2}" srcOrd="1" destOrd="0" parTransId="{E366D3A2-8C64-4A21-8A0F-505D1E469C26}" sibTransId="{F31B50A3-7A34-4545-9A37-2A8AD6C850B5}"/>
    <dgm:cxn modelId="{44F2BC3E-9CAB-44E1-93D0-4ADD5D79D189}" srcId="{65BADF00-C586-47F1-9876-8A6ECCAFFE11}" destId="{F14EB1CD-C000-4741-A611-4404B331B98C}" srcOrd="2" destOrd="0" parTransId="{F41C0D1C-E3C7-4C66-A94C-5A31AC8FD586}" sibTransId="{4E135298-3615-44B4-952A-2ADB9DF828FE}"/>
    <dgm:cxn modelId="{FA2B66AB-E330-4C2B-988F-5B247B9EF389}" srcId="{F7BD1C98-C19C-4E7B-8409-82F85BD5834B}" destId="{8C496425-F9F7-4265-81E1-0738CE5A686C}" srcOrd="0" destOrd="0" parTransId="{383ACF20-4CE9-44D8-911B-68E4071C124E}" sibTransId="{CF66F24D-1834-44B4-8E29-686FC0AFA149}"/>
    <dgm:cxn modelId="{2891E691-6090-462F-AD95-EA1AE2EB0D6B}" type="presOf" srcId="{B63775EF-4020-4DB9-A1F3-41F26BF02947}" destId="{8C74DC13-77AE-482B-96AD-73A0C2159190}" srcOrd="0" destOrd="0" presId="urn:microsoft.com/office/officeart/2005/8/layout/hProcess6"/>
    <dgm:cxn modelId="{2AB281AE-44F4-4E57-AB6E-26942B6666AC}" type="presOf" srcId="{8C496425-F9F7-4265-81E1-0738CE5A686C}" destId="{BD5F78B3-0AFF-44A3-9E19-E9BA7FA78257}" srcOrd="1" destOrd="0" presId="urn:microsoft.com/office/officeart/2005/8/layout/hProcess6"/>
    <dgm:cxn modelId="{1D8B2D93-A6B3-4A8E-8A14-BB0C757F34CA}" type="presOf" srcId="{65BADF00-C586-47F1-9876-8A6ECCAFFE11}" destId="{BB6362F6-5C33-4735-A933-E7E987FDDB14}" srcOrd="0" destOrd="0" presId="urn:microsoft.com/office/officeart/2005/8/layout/hProcess6"/>
    <dgm:cxn modelId="{AB24140C-F5B6-4FA4-A158-7CC96AC0BEE1}" type="presOf" srcId="{F7BD1C98-C19C-4E7B-8409-82F85BD5834B}" destId="{4CA5AB5E-D177-4B47-A762-4674E88570F7}" srcOrd="0" destOrd="0" presId="urn:microsoft.com/office/officeart/2005/8/layout/hProcess6"/>
    <dgm:cxn modelId="{2E57B77E-74DD-450D-B478-67BBBFEF991F}" type="presOf" srcId="{2F5434A7-CA6C-4214-BBFC-812A6DD7D4D2}" destId="{BD5F78B3-0AFF-44A3-9E19-E9BA7FA78257}" srcOrd="1" destOrd="1" presId="urn:microsoft.com/office/officeart/2005/8/layout/hProcess6"/>
    <dgm:cxn modelId="{D7CE2597-9E79-4E37-8174-6887EFA2D814}" type="presOf" srcId="{B63775EF-4020-4DB9-A1F3-41F26BF02947}" destId="{BF22973B-84FF-43AD-9EF7-7FF63ECD03DC}" srcOrd="1" destOrd="0" presId="urn:microsoft.com/office/officeart/2005/8/layout/hProcess6"/>
    <dgm:cxn modelId="{3D89A8E8-F2D8-4CDE-8430-B1D706C591DF}" srcId="{65BADF00-C586-47F1-9876-8A6ECCAFFE11}" destId="{F8DBB65F-E920-4FA0-9F13-33E27477243A}" srcOrd="0" destOrd="0" parTransId="{63FDF808-B147-415B-8C42-47C016C6CE72}" sibTransId="{58488A5F-C8F2-4745-A600-4E2826586C95}"/>
    <dgm:cxn modelId="{CF74D36C-5583-4424-8EEF-D8E60353DB05}" type="presParOf" srcId="{BB6362F6-5C33-4735-A933-E7E987FDDB14}" destId="{0E4761AC-961B-47ED-9AC7-D528F071D151}" srcOrd="0" destOrd="0" presId="urn:microsoft.com/office/officeart/2005/8/layout/hProcess6"/>
    <dgm:cxn modelId="{A0BA9F16-FE30-41BA-92DD-5F9AB130F1CD}" type="presParOf" srcId="{0E4761AC-961B-47ED-9AC7-D528F071D151}" destId="{C242C015-9D29-4661-8172-1ABD1D74565F}" srcOrd="0" destOrd="0" presId="urn:microsoft.com/office/officeart/2005/8/layout/hProcess6"/>
    <dgm:cxn modelId="{19558D74-9DFA-45AE-8CB5-53DEA3058ED7}" type="presParOf" srcId="{0E4761AC-961B-47ED-9AC7-D528F071D151}" destId="{312F95A8-0D00-49CC-9AE1-C855BF8EA21C}" srcOrd="1" destOrd="0" presId="urn:microsoft.com/office/officeart/2005/8/layout/hProcess6"/>
    <dgm:cxn modelId="{6951BAF1-D7D0-4F44-848E-B5689B99478B}" type="presParOf" srcId="{0E4761AC-961B-47ED-9AC7-D528F071D151}" destId="{88799B7B-7D66-4A20-8F1B-C578B9F9F2C3}" srcOrd="2" destOrd="0" presId="urn:microsoft.com/office/officeart/2005/8/layout/hProcess6"/>
    <dgm:cxn modelId="{0B2B6EE2-6674-44DB-AD90-9FDFB94B66C7}" type="presParOf" srcId="{0E4761AC-961B-47ED-9AC7-D528F071D151}" destId="{9F90D68F-5FF2-41E4-A95E-405312294B89}" srcOrd="3" destOrd="0" presId="urn:microsoft.com/office/officeart/2005/8/layout/hProcess6"/>
    <dgm:cxn modelId="{FACA327F-4672-4F3F-A615-50179F2BE295}" type="presParOf" srcId="{BB6362F6-5C33-4735-A933-E7E987FDDB14}" destId="{6882356E-5495-484A-BA13-F6345442056C}" srcOrd="1" destOrd="0" presId="urn:microsoft.com/office/officeart/2005/8/layout/hProcess6"/>
    <dgm:cxn modelId="{DBBF949E-4A95-4EF4-AE75-B3B826F6BA60}" type="presParOf" srcId="{BB6362F6-5C33-4735-A933-E7E987FDDB14}" destId="{2348C79F-86FE-454D-83CC-F65B476BBFE3}" srcOrd="2" destOrd="0" presId="urn:microsoft.com/office/officeart/2005/8/layout/hProcess6"/>
    <dgm:cxn modelId="{32A31799-2F5D-47A6-85E5-EBF19FBCEA09}" type="presParOf" srcId="{2348C79F-86FE-454D-83CC-F65B476BBFE3}" destId="{813C6264-A8A0-4DD2-874B-65120E277416}" srcOrd="0" destOrd="0" presId="urn:microsoft.com/office/officeart/2005/8/layout/hProcess6"/>
    <dgm:cxn modelId="{3738839C-F5D6-4637-BCC2-DCD40CEB9058}" type="presParOf" srcId="{2348C79F-86FE-454D-83CC-F65B476BBFE3}" destId="{F98BD22A-5490-4911-83EF-CAFBDBA8E438}" srcOrd="1" destOrd="0" presId="urn:microsoft.com/office/officeart/2005/8/layout/hProcess6"/>
    <dgm:cxn modelId="{E694C8D2-5320-49D9-9FCF-CD26559FF01F}" type="presParOf" srcId="{2348C79F-86FE-454D-83CC-F65B476BBFE3}" destId="{BD5F78B3-0AFF-44A3-9E19-E9BA7FA78257}" srcOrd="2" destOrd="0" presId="urn:microsoft.com/office/officeart/2005/8/layout/hProcess6"/>
    <dgm:cxn modelId="{4FC47F38-59CA-4C4E-B624-97FCC087F722}" type="presParOf" srcId="{2348C79F-86FE-454D-83CC-F65B476BBFE3}" destId="{4CA5AB5E-D177-4B47-A762-4674E88570F7}" srcOrd="3" destOrd="0" presId="urn:microsoft.com/office/officeart/2005/8/layout/hProcess6"/>
    <dgm:cxn modelId="{D4D542D6-3F5B-49B4-BBDC-BB13065B2433}" type="presParOf" srcId="{BB6362F6-5C33-4735-A933-E7E987FDDB14}" destId="{CF22DCA6-AD19-49D4-9B25-80CDA3E48036}" srcOrd="3" destOrd="0" presId="urn:microsoft.com/office/officeart/2005/8/layout/hProcess6"/>
    <dgm:cxn modelId="{166F3E2D-3E62-4E16-A8B6-CFB4F5DFE60D}" type="presParOf" srcId="{BB6362F6-5C33-4735-A933-E7E987FDDB14}" destId="{4587F8E8-014A-4764-9EA0-8CC15B085A87}" srcOrd="4" destOrd="0" presId="urn:microsoft.com/office/officeart/2005/8/layout/hProcess6"/>
    <dgm:cxn modelId="{B7E906D0-2C8D-4364-86DE-92F5F39C9074}" type="presParOf" srcId="{4587F8E8-014A-4764-9EA0-8CC15B085A87}" destId="{992B0A00-A05B-4BB9-B948-52146155E8F4}" srcOrd="0" destOrd="0" presId="urn:microsoft.com/office/officeart/2005/8/layout/hProcess6"/>
    <dgm:cxn modelId="{D9D12ECC-AF01-4DDD-8E0E-985466DDD7FD}" type="presParOf" srcId="{4587F8E8-014A-4764-9EA0-8CC15B085A87}" destId="{8C74DC13-77AE-482B-96AD-73A0C2159190}" srcOrd="1" destOrd="0" presId="urn:microsoft.com/office/officeart/2005/8/layout/hProcess6"/>
    <dgm:cxn modelId="{46521DF2-39E3-420F-8AE3-75E2B7E96CDC}" type="presParOf" srcId="{4587F8E8-014A-4764-9EA0-8CC15B085A87}" destId="{BF22973B-84FF-43AD-9EF7-7FF63ECD03DC}" srcOrd="2" destOrd="0" presId="urn:microsoft.com/office/officeart/2005/8/layout/hProcess6"/>
    <dgm:cxn modelId="{889D4553-1CCD-474B-A3F9-2F4417115545}" type="presParOf" srcId="{4587F8E8-014A-4764-9EA0-8CC15B085A87}" destId="{7DABB3BC-4BD0-4228-B0F0-D5FC7B78A29E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D45907-5405-47B0-A77F-ED59D4C17D11}">
      <dsp:nvSpPr>
        <dsp:cNvPr id="0" name=""/>
        <dsp:cNvSpPr/>
      </dsp:nvSpPr>
      <dsp:spPr>
        <a:xfrm>
          <a:off x="3150739" y="1044994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F208597-F6A7-467F-9B8A-FC8726A23AE9}">
      <dsp:nvSpPr>
        <dsp:cNvPr id="0" name=""/>
        <dsp:cNvSpPr/>
      </dsp:nvSpPr>
      <dsp:spPr>
        <a:xfrm>
          <a:off x="3053125" y="0"/>
          <a:ext cx="1533937" cy="820891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Job-matching and searching</a:t>
          </a:r>
          <a:endParaRPr lang="en-US" sz="1400" b="1" kern="1200" dirty="0"/>
        </a:p>
      </dsp:txBody>
      <dsp:txXfrm>
        <a:off x="3053125" y="0"/>
        <a:ext cx="1533937" cy="820891"/>
      </dsp:txXfrm>
    </dsp:sp>
    <dsp:sp modelId="{BA37123F-6D0E-4874-8764-D31DB11057DD}">
      <dsp:nvSpPr>
        <dsp:cNvPr id="0" name=""/>
        <dsp:cNvSpPr/>
      </dsp:nvSpPr>
      <dsp:spPr>
        <a:xfrm>
          <a:off x="3543427" y="1233799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69EB29F-5F90-489C-A6F1-BAFC8664A71A}">
      <dsp:nvSpPr>
        <dsp:cNvPr id="0" name=""/>
        <dsp:cNvSpPr/>
      </dsp:nvSpPr>
      <dsp:spPr>
        <a:xfrm>
          <a:off x="5047243" y="779846"/>
          <a:ext cx="1450268" cy="90298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Graduate tracking</a:t>
          </a:r>
          <a:endParaRPr lang="en-US" sz="1400" kern="1200" dirty="0"/>
        </a:p>
      </dsp:txBody>
      <dsp:txXfrm>
        <a:off x="5047243" y="779846"/>
        <a:ext cx="1450268" cy="902980"/>
      </dsp:txXfrm>
    </dsp:sp>
    <dsp:sp modelId="{0AC63579-4B44-43EF-B98A-74040C3A4B52}">
      <dsp:nvSpPr>
        <dsp:cNvPr id="0" name=""/>
        <dsp:cNvSpPr/>
      </dsp:nvSpPr>
      <dsp:spPr>
        <a:xfrm>
          <a:off x="3639926" y="1658610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8FFB011-A194-4FC6-9747-D5E28DD2647F}">
      <dsp:nvSpPr>
        <dsp:cNvPr id="0" name=""/>
        <dsp:cNvSpPr/>
      </dsp:nvSpPr>
      <dsp:spPr>
        <a:xfrm>
          <a:off x="5186692" y="1929093"/>
          <a:ext cx="1422378" cy="96454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Career learning &amp; development management</a:t>
          </a:r>
          <a:endParaRPr lang="en-US" sz="1400" b="1" kern="1200" dirty="0"/>
        </a:p>
      </dsp:txBody>
      <dsp:txXfrm>
        <a:off x="5186692" y="1929093"/>
        <a:ext cx="1422378" cy="964546"/>
      </dsp:txXfrm>
    </dsp:sp>
    <dsp:sp modelId="{43AAA4CF-5AFF-4FE2-9C1A-A4B300CB2EFA}">
      <dsp:nvSpPr>
        <dsp:cNvPr id="0" name=""/>
        <dsp:cNvSpPr/>
      </dsp:nvSpPr>
      <dsp:spPr>
        <a:xfrm>
          <a:off x="3368279" y="1999280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6261101-9367-4A7B-BF22-E75C8CA33514}">
      <dsp:nvSpPr>
        <dsp:cNvPr id="0" name=""/>
        <dsp:cNvSpPr/>
      </dsp:nvSpPr>
      <dsp:spPr>
        <a:xfrm>
          <a:off x="4573117" y="3221997"/>
          <a:ext cx="1533937" cy="88245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Statistical research</a:t>
          </a:r>
          <a:endParaRPr lang="en-US" sz="1400" b="1" kern="1200" dirty="0"/>
        </a:p>
      </dsp:txBody>
      <dsp:txXfrm>
        <a:off x="4573117" y="3221997"/>
        <a:ext cx="1533937" cy="882457"/>
      </dsp:txXfrm>
    </dsp:sp>
    <dsp:sp modelId="{2BE6C3AF-8E74-4D45-9B03-798D7FCFB07F}">
      <dsp:nvSpPr>
        <dsp:cNvPr id="0" name=""/>
        <dsp:cNvSpPr/>
      </dsp:nvSpPr>
      <dsp:spPr>
        <a:xfrm>
          <a:off x="2933199" y="1999280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51742D4-C282-48C7-A438-3DD6B74776DC}">
      <dsp:nvSpPr>
        <dsp:cNvPr id="0" name=""/>
        <dsp:cNvSpPr/>
      </dsp:nvSpPr>
      <dsp:spPr>
        <a:xfrm>
          <a:off x="1533132" y="3221997"/>
          <a:ext cx="1533937" cy="88245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Curricula development</a:t>
          </a:r>
          <a:endParaRPr lang="en-US" sz="1400" kern="1200" dirty="0"/>
        </a:p>
      </dsp:txBody>
      <dsp:txXfrm>
        <a:off x="1533132" y="3221997"/>
        <a:ext cx="1533937" cy="882457"/>
      </dsp:txXfrm>
    </dsp:sp>
    <dsp:sp modelId="{91FDEA42-E82A-4C3D-9A6A-EF4F906013C2}">
      <dsp:nvSpPr>
        <dsp:cNvPr id="0" name=""/>
        <dsp:cNvSpPr/>
      </dsp:nvSpPr>
      <dsp:spPr>
        <a:xfrm>
          <a:off x="2661552" y="1658610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D26EBCEC-89EE-49D0-B326-58EEB3286501}">
      <dsp:nvSpPr>
        <dsp:cNvPr id="0" name=""/>
        <dsp:cNvSpPr/>
      </dsp:nvSpPr>
      <dsp:spPr>
        <a:xfrm>
          <a:off x="1031116" y="1929093"/>
          <a:ext cx="1422378" cy="96454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Ontology management &amp; machine learning</a:t>
          </a:r>
          <a:endParaRPr lang="en-US" sz="1400" b="1" kern="1200" dirty="0"/>
        </a:p>
      </dsp:txBody>
      <dsp:txXfrm>
        <a:off x="1031116" y="1929093"/>
        <a:ext cx="1422378" cy="964546"/>
      </dsp:txXfrm>
    </dsp:sp>
    <dsp:sp modelId="{B6FE9A8E-FCF2-40C8-B72A-4B173C1F609F}">
      <dsp:nvSpPr>
        <dsp:cNvPr id="0" name=""/>
        <dsp:cNvSpPr/>
      </dsp:nvSpPr>
      <dsp:spPr>
        <a:xfrm>
          <a:off x="2758051" y="1233799"/>
          <a:ext cx="1338709" cy="13388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37D127FA-F447-4498-8F4A-8006C2C7AC36}">
      <dsp:nvSpPr>
        <dsp:cNvPr id="0" name=""/>
        <dsp:cNvSpPr/>
      </dsp:nvSpPr>
      <dsp:spPr>
        <a:xfrm>
          <a:off x="1142675" y="779846"/>
          <a:ext cx="1450268" cy="90298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Validation of informal/non-formal/formal learning</a:t>
          </a:r>
          <a:endParaRPr lang="en-US" sz="1400" kern="1200" dirty="0"/>
        </a:p>
      </dsp:txBody>
      <dsp:txXfrm>
        <a:off x="1142675" y="779846"/>
        <a:ext cx="1450268" cy="9029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B73FB2-28E0-4766-AED5-14EDE3484E34}">
      <dsp:nvSpPr>
        <dsp:cNvPr id="0" name=""/>
        <dsp:cNvSpPr/>
      </dsp:nvSpPr>
      <dsp:spPr>
        <a:xfrm>
          <a:off x="964449" y="548798"/>
          <a:ext cx="3654309" cy="3654309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2">
            <a:shade val="90000"/>
            <a:hueOff val="0"/>
            <a:satOff val="-29999"/>
            <a:lumOff val="408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16A45A-3AE6-4FD8-AB19-7AE1AEAB171E}">
      <dsp:nvSpPr>
        <dsp:cNvPr id="0" name=""/>
        <dsp:cNvSpPr/>
      </dsp:nvSpPr>
      <dsp:spPr>
        <a:xfrm>
          <a:off x="964449" y="548798"/>
          <a:ext cx="3654309" cy="3654309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2">
            <a:shade val="90000"/>
            <a:hueOff val="0"/>
            <a:satOff val="-19999"/>
            <a:lumOff val="2723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2A72A4-B528-4B81-B94B-ECD951A155C9}">
      <dsp:nvSpPr>
        <dsp:cNvPr id="0" name=""/>
        <dsp:cNvSpPr/>
      </dsp:nvSpPr>
      <dsp:spPr>
        <a:xfrm>
          <a:off x="964449" y="548798"/>
          <a:ext cx="3654309" cy="3654309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2">
            <a:shade val="90000"/>
            <a:hueOff val="0"/>
            <a:satOff val="-10000"/>
            <a:lumOff val="1361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E7D2BD-8275-4458-9A06-E1BAB8183C33}">
      <dsp:nvSpPr>
        <dsp:cNvPr id="0" name=""/>
        <dsp:cNvSpPr/>
      </dsp:nvSpPr>
      <dsp:spPr>
        <a:xfrm>
          <a:off x="964449" y="548798"/>
          <a:ext cx="3654309" cy="3654309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19CA9E-4DA3-4D1D-B5D0-45B4617FE3DA}">
      <dsp:nvSpPr>
        <dsp:cNvPr id="0" name=""/>
        <dsp:cNvSpPr/>
      </dsp:nvSpPr>
      <dsp:spPr>
        <a:xfrm>
          <a:off x="1950578" y="1534927"/>
          <a:ext cx="1682050" cy="1682050"/>
        </a:xfrm>
        <a:prstGeom prst="ellipse">
          <a:avLst/>
        </a:prstGeom>
        <a:solidFill>
          <a:schemeClr val="accent2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>
              <a:latin typeface="Verdana"/>
            </a:rPr>
            <a:t>Updated and improved classification</a:t>
          </a:r>
          <a:endParaRPr lang="en-GB" sz="1400" kern="1200" dirty="0"/>
        </a:p>
      </dsp:txBody>
      <dsp:txXfrm>
        <a:off x="2196909" y="1781258"/>
        <a:ext cx="1189388" cy="1189388"/>
      </dsp:txXfrm>
    </dsp:sp>
    <dsp:sp modelId="{9BADF790-DEDD-4E2E-BF4D-80D76744C5BF}">
      <dsp:nvSpPr>
        <dsp:cNvPr id="0" name=""/>
        <dsp:cNvSpPr/>
      </dsp:nvSpPr>
      <dsp:spPr>
        <a:xfrm>
          <a:off x="2202886" y="2468"/>
          <a:ext cx="1177435" cy="1177435"/>
        </a:xfrm>
        <a:prstGeom prst="ellips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/>
            <a:t>Desk </a:t>
          </a:r>
          <a:r>
            <a:rPr lang="en-GB" sz="1100" kern="1200" dirty="0">
              <a:latin typeface="Verdana"/>
            </a:rPr>
            <a:t>research &amp; sectoral gap analysis</a:t>
          </a:r>
          <a:endParaRPr lang="en-US" sz="1100" kern="1200" dirty="0"/>
        </a:p>
      </dsp:txBody>
      <dsp:txXfrm>
        <a:off x="2375317" y="174899"/>
        <a:ext cx="832573" cy="832573"/>
      </dsp:txXfrm>
    </dsp:sp>
    <dsp:sp modelId="{21AE6BC9-63C0-4435-9BA2-68EF385BFA84}">
      <dsp:nvSpPr>
        <dsp:cNvPr id="0" name=""/>
        <dsp:cNvSpPr/>
      </dsp:nvSpPr>
      <dsp:spPr>
        <a:xfrm>
          <a:off x="3987653" y="1787235"/>
          <a:ext cx="1177435" cy="1177435"/>
        </a:xfrm>
        <a:prstGeom prst="ellipse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/>
            <a:t>Quality review</a:t>
          </a:r>
          <a:endParaRPr lang="en-US" sz="1100" kern="1200" dirty="0"/>
        </a:p>
      </dsp:txBody>
      <dsp:txXfrm>
        <a:off x="4160084" y="1959666"/>
        <a:ext cx="832573" cy="832573"/>
      </dsp:txXfrm>
    </dsp:sp>
    <dsp:sp modelId="{10715C3A-BC7D-43C9-92AF-514F5632B4FF}">
      <dsp:nvSpPr>
        <dsp:cNvPr id="0" name=""/>
        <dsp:cNvSpPr/>
      </dsp:nvSpPr>
      <dsp:spPr>
        <a:xfrm>
          <a:off x="2202886" y="3572002"/>
          <a:ext cx="1177435" cy="1177435"/>
        </a:xfrm>
        <a:prstGeom prst="ellipse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/>
            <a:t>Content creation</a:t>
          </a:r>
          <a:r>
            <a:rPr lang="en-GB" sz="1100" kern="1200" dirty="0">
              <a:latin typeface="Verdana"/>
            </a:rPr>
            <a:t> &amp; validation</a:t>
          </a:r>
          <a:endParaRPr lang="en-US" sz="1100" kern="1200" dirty="0"/>
        </a:p>
      </dsp:txBody>
      <dsp:txXfrm>
        <a:off x="2375317" y="3744433"/>
        <a:ext cx="832573" cy="832573"/>
      </dsp:txXfrm>
    </dsp:sp>
    <dsp:sp modelId="{58411C30-E819-4C1E-993F-1C6005F2B92B}">
      <dsp:nvSpPr>
        <dsp:cNvPr id="0" name=""/>
        <dsp:cNvSpPr/>
      </dsp:nvSpPr>
      <dsp:spPr>
        <a:xfrm>
          <a:off x="418119" y="1787235"/>
          <a:ext cx="1177435" cy="1177435"/>
        </a:xfrm>
        <a:prstGeom prst="ellipse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>
              <a:latin typeface="Verdana"/>
            </a:rPr>
            <a:t>Process and</a:t>
          </a:r>
          <a:r>
            <a:rPr lang="en-GB" sz="1100" kern="1200" dirty="0"/>
            <a:t> </a:t>
          </a:r>
          <a:r>
            <a:rPr lang="en-GB" sz="1100" kern="1200" dirty="0">
              <a:latin typeface="Verdana"/>
            </a:rPr>
            <a:t>discuss feedback</a:t>
          </a:r>
          <a:endParaRPr lang="en-US" sz="1100" kern="1200" dirty="0"/>
        </a:p>
      </dsp:txBody>
      <dsp:txXfrm>
        <a:off x="590550" y="1959666"/>
        <a:ext cx="832573" cy="8325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454D55-A1E5-469A-A917-DFD8E280B638}">
      <dsp:nvSpPr>
        <dsp:cNvPr id="0" name=""/>
        <dsp:cNvSpPr/>
      </dsp:nvSpPr>
      <dsp:spPr>
        <a:xfrm>
          <a:off x="710012" y="0"/>
          <a:ext cx="2135240" cy="1866469"/>
        </a:xfrm>
        <a:prstGeom prst="rightArrow">
          <a:avLst>
            <a:gd name="adj1" fmla="val 70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>
              <a:latin typeface="Verdana"/>
            </a:rPr>
            <a:t>Updated and improved classification</a:t>
          </a:r>
          <a:endParaRPr lang="en-GB" sz="1100" kern="1200"/>
        </a:p>
      </dsp:txBody>
      <dsp:txXfrm>
        <a:off x="1243822" y="279970"/>
        <a:ext cx="1040930" cy="1306529"/>
      </dsp:txXfrm>
    </dsp:sp>
    <dsp:sp modelId="{406FDB3B-8DB7-475B-9C0D-0AF42ED4720D}">
      <dsp:nvSpPr>
        <dsp:cNvPr id="0" name=""/>
        <dsp:cNvSpPr/>
      </dsp:nvSpPr>
      <dsp:spPr>
        <a:xfrm>
          <a:off x="176202" y="399424"/>
          <a:ext cx="1067620" cy="1067620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>
              <a:latin typeface="Verdana"/>
            </a:rPr>
            <a:t>MARCH –DECEMBER 2020</a:t>
          </a:r>
          <a:endParaRPr lang="en-GB" sz="1000" kern="1200" dirty="0"/>
        </a:p>
      </dsp:txBody>
      <dsp:txXfrm>
        <a:off x="332551" y="555773"/>
        <a:ext cx="754922" cy="754922"/>
      </dsp:txXfrm>
    </dsp:sp>
    <dsp:sp modelId="{8C6FE111-EC3B-4A2A-8681-4ECE06225E0D}">
      <dsp:nvSpPr>
        <dsp:cNvPr id="0" name=""/>
        <dsp:cNvSpPr/>
      </dsp:nvSpPr>
      <dsp:spPr>
        <a:xfrm>
          <a:off x="3521322" y="0"/>
          <a:ext cx="2135240" cy="1866469"/>
        </a:xfrm>
        <a:prstGeom prst="rightArrow">
          <a:avLst>
            <a:gd name="adj1" fmla="val 70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>
              <a:latin typeface="Verdana"/>
            </a:rPr>
            <a:t>Open call for feedback (Maintenance Committee and external stakeholders)</a:t>
          </a:r>
          <a:endParaRPr lang="en-GB" sz="1100" kern="1200" dirty="0"/>
        </a:p>
      </dsp:txBody>
      <dsp:txXfrm>
        <a:off x="4055132" y="279970"/>
        <a:ext cx="1040930" cy="1306529"/>
      </dsp:txXfrm>
    </dsp:sp>
    <dsp:sp modelId="{E0E5A134-8BC1-471B-96D5-02128150AC8C}">
      <dsp:nvSpPr>
        <dsp:cNvPr id="0" name=""/>
        <dsp:cNvSpPr/>
      </dsp:nvSpPr>
      <dsp:spPr>
        <a:xfrm>
          <a:off x="2987512" y="399424"/>
          <a:ext cx="1067620" cy="1067620"/>
        </a:xfrm>
        <a:prstGeom prst="ellipse">
          <a:avLst/>
        </a:prstGeom>
        <a:solidFill>
          <a:schemeClr val="accent6">
            <a:shade val="80000"/>
            <a:hueOff val="0"/>
            <a:satOff val="-33821"/>
            <a:lumOff val="338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>
              <a:latin typeface="Verdana"/>
            </a:rPr>
            <a:t>JANUARY 2021</a:t>
          </a:r>
        </a:p>
      </dsp:txBody>
      <dsp:txXfrm>
        <a:off x="3143861" y="555773"/>
        <a:ext cx="754922" cy="75492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2F95A8-0D00-49CC-9AE1-C855BF8EA21C}">
      <dsp:nvSpPr>
        <dsp:cNvPr id="0" name=""/>
        <dsp:cNvSpPr/>
      </dsp:nvSpPr>
      <dsp:spPr>
        <a:xfrm>
          <a:off x="554236" y="110121"/>
          <a:ext cx="2200275" cy="1923317"/>
        </a:xfrm>
        <a:prstGeom prst="rightArrow">
          <a:avLst>
            <a:gd name="adj1" fmla="val 70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>
              <a:latin typeface="Verdana"/>
            </a:rPr>
            <a:t>Consultation with Member States</a:t>
          </a:r>
          <a:endParaRPr lang="en-GB" sz="1100" kern="1200"/>
        </a:p>
      </dsp:txBody>
      <dsp:txXfrm>
        <a:off x="1104304" y="398619"/>
        <a:ext cx="1072634" cy="1346321"/>
      </dsp:txXfrm>
    </dsp:sp>
    <dsp:sp modelId="{9F90D68F-5FF2-41E4-A95E-405312294B89}">
      <dsp:nvSpPr>
        <dsp:cNvPr id="0" name=""/>
        <dsp:cNvSpPr/>
      </dsp:nvSpPr>
      <dsp:spPr>
        <a:xfrm>
          <a:off x="4167" y="521711"/>
          <a:ext cx="1100137" cy="1100137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>
              <a:latin typeface="Verdana"/>
            </a:rPr>
            <a:t>FEBRUARY 2021</a:t>
          </a:r>
          <a:endParaRPr lang="en-GB" sz="1000" kern="1200" dirty="0"/>
        </a:p>
      </dsp:txBody>
      <dsp:txXfrm>
        <a:off x="165278" y="682822"/>
        <a:ext cx="777915" cy="777915"/>
      </dsp:txXfrm>
    </dsp:sp>
    <dsp:sp modelId="{F98BD22A-5490-4911-83EF-CAFBDBA8E438}">
      <dsp:nvSpPr>
        <dsp:cNvPr id="0" name=""/>
        <dsp:cNvSpPr/>
      </dsp:nvSpPr>
      <dsp:spPr>
        <a:xfrm>
          <a:off x="3442097" y="110121"/>
          <a:ext cx="2200275" cy="1923317"/>
        </a:xfrm>
        <a:prstGeom prst="rightArrow">
          <a:avLst>
            <a:gd name="adj1" fmla="val 70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>
              <a:latin typeface="Verdana"/>
            </a:rPr>
            <a:t>Translation</a:t>
          </a: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>
              <a:latin typeface="Verdana"/>
            </a:rPr>
            <a:t>Consultation with MS on translations</a:t>
          </a:r>
        </a:p>
      </dsp:txBody>
      <dsp:txXfrm>
        <a:off x="3992166" y="398619"/>
        <a:ext cx="1072634" cy="1346321"/>
      </dsp:txXfrm>
    </dsp:sp>
    <dsp:sp modelId="{4CA5AB5E-D177-4B47-A762-4674E88570F7}">
      <dsp:nvSpPr>
        <dsp:cNvPr id="0" name=""/>
        <dsp:cNvSpPr/>
      </dsp:nvSpPr>
      <dsp:spPr>
        <a:xfrm>
          <a:off x="2892028" y="521711"/>
          <a:ext cx="1100137" cy="1100137"/>
        </a:xfrm>
        <a:prstGeom prst="ellipse">
          <a:avLst/>
        </a:prstGeom>
        <a:solidFill>
          <a:schemeClr val="accent6">
            <a:shade val="80000"/>
            <a:hueOff val="0"/>
            <a:satOff val="-16910"/>
            <a:lumOff val="1690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>
              <a:latin typeface="Verdana"/>
            </a:rPr>
            <a:t>MARCH – NOVEMBER 2021</a:t>
          </a:r>
        </a:p>
      </dsp:txBody>
      <dsp:txXfrm>
        <a:off x="3053139" y="682822"/>
        <a:ext cx="777915" cy="777915"/>
      </dsp:txXfrm>
    </dsp:sp>
    <dsp:sp modelId="{8C74DC13-77AE-482B-96AD-73A0C2159190}">
      <dsp:nvSpPr>
        <dsp:cNvPr id="0" name=""/>
        <dsp:cNvSpPr/>
      </dsp:nvSpPr>
      <dsp:spPr>
        <a:xfrm>
          <a:off x="6329958" y="110121"/>
          <a:ext cx="2200275" cy="1923317"/>
        </a:xfrm>
        <a:prstGeom prst="rightArrow">
          <a:avLst>
            <a:gd name="adj1" fmla="val 70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13970" bIns="6985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>
              <a:latin typeface="Verdana"/>
            </a:rPr>
            <a:t>ESCO v1.1 goes live</a:t>
          </a:r>
        </a:p>
      </dsp:txBody>
      <dsp:txXfrm>
        <a:off x="6880027" y="398619"/>
        <a:ext cx="1072634" cy="1346321"/>
      </dsp:txXfrm>
    </dsp:sp>
    <dsp:sp modelId="{7DABB3BC-4BD0-4228-B0F0-D5FC7B78A29E}">
      <dsp:nvSpPr>
        <dsp:cNvPr id="0" name=""/>
        <dsp:cNvSpPr/>
      </dsp:nvSpPr>
      <dsp:spPr>
        <a:xfrm>
          <a:off x="5779889" y="521711"/>
          <a:ext cx="1100137" cy="1100137"/>
        </a:xfrm>
        <a:prstGeom prst="ellipse">
          <a:avLst/>
        </a:prstGeom>
        <a:solidFill>
          <a:schemeClr val="accent6">
            <a:shade val="80000"/>
            <a:hueOff val="0"/>
            <a:satOff val="-33821"/>
            <a:lumOff val="338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>
              <a:latin typeface="Verdana"/>
            </a:rPr>
            <a:t>DECEMBER 2021</a:t>
          </a:r>
        </a:p>
      </dsp:txBody>
      <dsp:txXfrm>
        <a:off x="5941000" y="682822"/>
        <a:ext cx="777915" cy="7779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B29697DC-654C-4C0A-97AC-30877F4A826B}" type="datetimeFigureOut">
              <a:rPr lang="en-GB" smtClean="0"/>
              <a:t>02/03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6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A1BD6576-C7C6-4BB4-A6BD-F64FBFFEAE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891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02/03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85" tIns="44892" rIns="89785" bIns="4489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89785" tIns="44892" rIns="89785" bIns="4489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2730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225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EBFFD9-30F2-44DC-85E0-5DF3FF092C81}" type="slidenum">
              <a:rPr lang="en-GB" altLang="en-US" smtClean="0"/>
              <a:pPr/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60405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9498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44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726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9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6477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161463" y="1098550"/>
            <a:ext cx="28176538" cy="15849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70AB5-00EE-4A5C-AE4E-71B8EEE1046C}" type="slidenum">
              <a:rPr lang="es-ES" smtClean="0"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1711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161463" y="1098550"/>
            <a:ext cx="28176538" cy="15849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70AB5-00EE-4A5C-AE4E-71B8EEE1046C}" type="slidenum">
              <a:rPr lang="es-ES" smtClean="0"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60883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6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6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8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2"/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9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2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2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22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22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41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>
            <p:extLst/>
          </p:nvPr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6137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12192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08015" y="309600"/>
            <a:ext cx="2112433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5640003" y="6669360"/>
            <a:ext cx="912284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9936" y="1700808"/>
            <a:ext cx="6048672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393" y="3933056"/>
            <a:ext cx="4992555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981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69369" y="6145213"/>
            <a:ext cx="2990849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980748"/>
            <a:ext cx="10972800" cy="9366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69351" y="116632"/>
            <a:ext cx="28448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37126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392" y="6297439"/>
            <a:ext cx="28448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2276872"/>
            <a:ext cx="109728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169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3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0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06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339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0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1123950"/>
            <a:ext cx="2745317" cy="4897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3" y="1123950"/>
            <a:ext cx="8039100" cy="4897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8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335359" y="6265894"/>
            <a:ext cx="480055" cy="297454"/>
          </a:xfrm>
          <a:prstGeom prst="rect">
            <a:avLst/>
          </a:prstGeom>
          <a:solidFill>
            <a:srgbClr val="FFFFFF"/>
          </a:solidFill>
          <a:ln>
            <a:solidFill>
              <a:srgbClr val="6D96C8"/>
            </a:solidFill>
          </a:ln>
        </p:spPr>
        <p:txBody>
          <a:bodyPr wrap="square" rtlCol="0">
            <a:spAutoFit/>
          </a:bodyPr>
          <a:lstStyle/>
          <a:p>
            <a:fld id="{0B3E6A1F-0E70-4F96-A2E5-8C87C994B9E3}" type="slidenum">
              <a:rPr lang="en-GB" sz="1333" b="1" smtClean="0">
                <a:solidFill>
                  <a:srgbClr val="0B8C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1333" b="1" dirty="0">
              <a:solidFill>
                <a:srgbClr val="0B8C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5" y="6089292"/>
            <a:ext cx="1924345" cy="5048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2446397" cy="749059"/>
          </a:xfrm>
          <a:prstGeom prst="rect">
            <a:avLst/>
          </a:prstGeom>
          <a:solidFill>
            <a:srgbClr val="F6A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0" name="Rectangle 29"/>
          <p:cNvSpPr/>
          <p:nvPr userDrawn="1"/>
        </p:nvSpPr>
        <p:spPr>
          <a:xfrm>
            <a:off x="2543605" y="0"/>
            <a:ext cx="9648395" cy="749059"/>
          </a:xfrm>
          <a:prstGeom prst="rect">
            <a:avLst/>
          </a:prstGeom>
          <a:solidFill>
            <a:srgbClr val="0B8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651595" y="189863"/>
            <a:ext cx="4036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b="0" dirty="0" smtClean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EUROPEAN </a:t>
            </a:r>
            <a:r>
              <a:rPr lang="en-GB" sz="1600" b="1" dirty="0" smtClean="0">
                <a:solidFill>
                  <a:srgbClr val="075980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QUALIFICATIONS</a:t>
            </a:r>
            <a:r>
              <a:rPr lang="en-GB" sz="1600" b="0" baseline="0" dirty="0" smtClean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 FRAMEWORK</a:t>
            </a:r>
            <a:endParaRPr lang="en-GB" sz="1600" b="0" dirty="0">
              <a:solidFill>
                <a:schemeClr val="bg1"/>
              </a:solidFill>
              <a:latin typeface="EC Square Sans Pro Medium" panose="020B05000000000200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3"/>
          <a:srcRect r="20419" b="21037"/>
          <a:stretch/>
        </p:blipFill>
        <p:spPr>
          <a:xfrm>
            <a:off x="5966091" y="3813043"/>
            <a:ext cx="6225911" cy="3044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075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37699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91977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282016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601161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58942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>
            <p:extLst/>
          </p:nvPr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98697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4586337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437044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0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3" y="311657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 dirty="0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" name="Diapositiva de think-cell" r:id="rId11" imgW="270" imgH="270" progId="TCLayout.ActiveDocument.1">
                  <p:embed/>
                </p:oleObj>
              </mc:Choice>
              <mc:Fallback>
                <p:oleObj name="Diapositiva d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112397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387600"/>
            <a:ext cx="109728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 smtClean="0"/>
              <a:t>Et dolor fragum</a:t>
            </a:r>
            <a:endParaRPr lang="en-GB" dirty="0" smtClean="0"/>
          </a:p>
          <a:p>
            <a:pPr lvl="1"/>
            <a:r>
              <a:rPr lang="en-GB" dirty="0" smtClean="0"/>
              <a:t>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  <a:p>
            <a:pPr lvl="2"/>
            <a:r>
              <a:rPr lang="en-GB" dirty="0" smtClean="0"/>
              <a:t>- 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D21B7-B314-438C-91E9-7FF9087DC078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3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58" r:id="rId12"/>
  </p:sldLayoutIdLst>
  <p:hf sldNum="0" hdr="0" ftr="0" dt="0"/>
  <p:txStyles>
    <p:titleStyle>
      <a:lvl1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63930376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2" name="Diapositiva de think-cell" r:id="rId11" imgW="270" imgH="270" progId="TCLayout.ActiveDocument.1">
                  <p:embed/>
                </p:oleObj>
              </mc:Choice>
              <mc:Fallback>
                <p:oleObj name="Diapositiva d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2108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25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4" Type="http://schemas.openxmlformats.org/officeDocument/2006/relationships/hyperlink" Target="mailto:empl-esco-secretariat@ec.europa.eu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255" y="4720908"/>
            <a:ext cx="5902549" cy="1578248"/>
          </a:xfrm>
        </p:spPr>
        <p:txBody>
          <a:bodyPr/>
          <a:lstStyle/>
          <a:p>
            <a:r>
              <a:rPr lang="fr-BE" sz="2000" dirty="0"/>
              <a:t>Dimitrios </a:t>
            </a:r>
            <a:r>
              <a:rPr lang="fr-BE" sz="2000" dirty="0" err="1"/>
              <a:t>Pikios</a:t>
            </a:r>
            <a:endParaRPr lang="fr-BE" sz="2000" dirty="0"/>
          </a:p>
          <a:p>
            <a:r>
              <a:rPr lang="fr-BE" sz="1800" b="0" dirty="0" smtClean="0"/>
              <a:t>Project </a:t>
            </a:r>
            <a:r>
              <a:rPr lang="fr-BE" sz="1800" b="0" dirty="0" err="1"/>
              <a:t>Coordinator</a:t>
            </a:r>
            <a:r>
              <a:rPr lang="fr-BE" sz="1800" b="0" dirty="0"/>
              <a:t> </a:t>
            </a:r>
            <a:r>
              <a:rPr lang="fr-BE" sz="1800" b="0" dirty="0" smtClean="0"/>
              <a:t>ESCO</a:t>
            </a:r>
          </a:p>
          <a:p>
            <a:r>
              <a:rPr lang="fr-BE" sz="1800" b="0" dirty="0" err="1" smtClean="0"/>
              <a:t>European</a:t>
            </a:r>
            <a:r>
              <a:rPr lang="fr-BE" sz="1800" b="0" dirty="0" smtClean="0"/>
              <a:t> Commission</a:t>
            </a:r>
          </a:p>
          <a:p>
            <a:r>
              <a:rPr lang="fr-BE" sz="1800" b="0" dirty="0" smtClean="0"/>
              <a:t>DG </a:t>
            </a:r>
            <a:r>
              <a:rPr lang="fr-BE" sz="1800" b="0" dirty="0" err="1"/>
              <a:t>Employment</a:t>
            </a:r>
            <a:r>
              <a:rPr lang="fr-BE" sz="1800" b="0" dirty="0"/>
              <a:t>, Social </a:t>
            </a:r>
            <a:r>
              <a:rPr lang="fr-BE" sz="1800" b="0" dirty="0" err="1"/>
              <a:t>Affairs</a:t>
            </a:r>
            <a:r>
              <a:rPr lang="fr-BE" sz="1800" b="0" dirty="0"/>
              <a:t> and </a:t>
            </a:r>
            <a:r>
              <a:rPr lang="fr-BE" sz="1800" b="0" dirty="0" smtClean="0"/>
              <a:t>Inclusion</a:t>
            </a:r>
          </a:p>
          <a:p>
            <a:r>
              <a:rPr lang="fr-BE" sz="1800" b="0" dirty="0" smtClean="0"/>
              <a:t>Unit E2 – </a:t>
            </a:r>
            <a:r>
              <a:rPr lang="fr-BE" sz="1800" b="0" dirty="0" err="1" smtClean="0"/>
              <a:t>Skills</a:t>
            </a:r>
            <a:r>
              <a:rPr lang="fr-BE" sz="1800" b="0" dirty="0" smtClean="0"/>
              <a:t> and Qualifications</a:t>
            </a:r>
            <a:endParaRPr lang="en-GB" sz="1800" b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69945" y="1467345"/>
            <a:ext cx="9500136" cy="2459762"/>
          </a:xfrm>
        </p:spPr>
        <p:txBody>
          <a:bodyPr/>
          <a:lstStyle/>
          <a:p>
            <a:r>
              <a:rPr lang="fr-BE" sz="4000" dirty="0"/>
              <a:t/>
            </a:r>
            <a:br>
              <a:rPr lang="fr-BE" sz="4000" dirty="0"/>
            </a:br>
            <a:r>
              <a:rPr lang="fr-B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ESCO </a:t>
            </a:r>
            <a:r>
              <a:rPr lang="fr-B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vision and </a:t>
            </a:r>
            <a:r>
              <a:rPr lang="fr-B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elopments</a:t>
            </a:r>
            <a:r>
              <a:rPr lang="fr-B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r-BE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European Single Procurement Document OUC meeting</a:t>
            </a:r>
            <a:br>
              <a:rPr lang="en-US" sz="3200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</a:br>
            <a:r>
              <a:rPr lang="en-US" sz="3200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3</a:t>
            </a:r>
            <a:r>
              <a:rPr lang="de-DE" sz="3200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 March </a:t>
            </a:r>
            <a:r>
              <a:rPr lang="de-DE" sz="3200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rPr>
              <a:t>2021</a:t>
            </a:r>
            <a:endParaRPr lang="en-GB" sz="3200" b="0" dirty="0"/>
          </a:p>
        </p:txBody>
      </p:sp>
    </p:spTree>
    <p:extLst>
      <p:ext uri="{BB962C8B-B14F-4D97-AF65-F5344CB8AC3E}">
        <p14:creationId xmlns:p14="http://schemas.microsoft.com/office/powerpoint/2010/main" val="209317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4284"/>
            <a:ext cx="12192001" cy="684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0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625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346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583680" cy="6858000"/>
          </a:xfrm>
        </p:spPr>
      </p:pic>
      <p:graphicFrame>
        <p:nvGraphicFramePr>
          <p:cNvPr id="3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967813"/>
              </p:ext>
            </p:extLst>
          </p:nvPr>
        </p:nvGraphicFramePr>
        <p:xfrm>
          <a:off x="5546423" y="1646280"/>
          <a:ext cx="7640188" cy="4104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1216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301" y="394737"/>
            <a:ext cx="10857915" cy="936625"/>
          </a:xfrm>
        </p:spPr>
        <p:txBody>
          <a:bodyPr/>
          <a:lstStyle/>
          <a:p>
            <a:pPr algn="ctr"/>
            <a:r>
              <a:rPr lang="en-GB" sz="3600" dirty="0" smtClean="0"/>
              <a:t>Main ESCO development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858" y="1692632"/>
            <a:ext cx="10972800" cy="3633788"/>
          </a:xfrm>
        </p:spPr>
        <p:txBody>
          <a:bodyPr/>
          <a:lstStyle/>
          <a:p>
            <a:pPr marL="0" indent="0">
              <a:buNone/>
            </a:pPr>
            <a:r>
              <a:rPr lang="en-GB" sz="2800" i="0" dirty="0">
                <a:latin typeface="Arial" panose="020B0604020202020204" pitchFamily="34" charset="0"/>
                <a:cs typeface="Arial" panose="020B0604020202020204" pitchFamily="34" charset="0"/>
              </a:rPr>
              <a:t>Development of skills hierarchy</a:t>
            </a:r>
            <a:endParaRPr lang="en-IE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E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E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Technical </a:t>
            </a:r>
            <a:r>
              <a:rPr lang="en-IE" sz="2800" i="0" dirty="0">
                <a:latin typeface="Arial" panose="020B0604020202020204" pitchFamily="34" charset="0"/>
                <a:cs typeface="Arial" panose="020B0604020202020204" pitchFamily="34" charset="0"/>
              </a:rPr>
              <a:t>support for mapping</a:t>
            </a:r>
            <a:endParaRPr lang="en-GB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Communication </a:t>
            </a:r>
            <a:r>
              <a:rPr lang="en-US" sz="2800" i="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outreach</a:t>
            </a:r>
          </a:p>
          <a:p>
            <a:pPr marL="0" indent="0">
              <a:buNone/>
            </a:pPr>
            <a:endParaRPr lang="en-US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800" i="0" dirty="0">
                <a:latin typeface="Arial" panose="020B0604020202020204" pitchFamily="34" charset="0"/>
                <a:cs typeface="Arial" panose="020B0604020202020204" pitchFamily="34" charset="0"/>
              </a:rPr>
              <a:t>Preparation </a:t>
            </a:r>
            <a:r>
              <a:rPr lang="en-GB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l-GR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E" sz="2800" i="0" dirty="0">
                <a:latin typeface="Arial" panose="020B0604020202020204" pitchFamily="34" charset="0"/>
                <a:cs typeface="Arial" panose="020B0604020202020204" pitchFamily="34" charset="0"/>
              </a:rPr>
              <a:t>ESCO </a:t>
            </a:r>
            <a:r>
              <a:rPr lang="en-GB" sz="2800" i="0" dirty="0">
                <a:latin typeface="Arial" panose="020B0604020202020204" pitchFamily="34" charset="0"/>
                <a:cs typeface="Arial" panose="020B0604020202020204" pitchFamily="34" charset="0"/>
              </a:rPr>
              <a:t>version </a:t>
            </a:r>
            <a:r>
              <a:rPr lang="en-GB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1.1</a:t>
            </a:r>
          </a:p>
          <a:p>
            <a:pPr marL="0" indent="0">
              <a:buNone/>
            </a:pPr>
            <a:endParaRPr lang="en-IE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E" sz="2800" i="0" dirty="0" smtClean="0">
                <a:latin typeface="Arial" panose="020B0604020202020204" pitchFamily="34" charset="0"/>
                <a:cs typeface="Arial" panose="020B0604020202020204" pitchFamily="34" charset="0"/>
              </a:rPr>
              <a:t>ESCO’s future</a:t>
            </a:r>
            <a:endParaRPr lang="en-GB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80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08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26D77-F7B5-4F3A-B892-3983DFFCA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417" y="610637"/>
            <a:ext cx="10972800" cy="936625"/>
          </a:xfrm>
        </p:spPr>
        <p:txBody>
          <a:bodyPr/>
          <a:lstStyle/>
          <a:p>
            <a:pPr algn="ctr"/>
            <a:r>
              <a:rPr lang="en-AU" sz="3600" dirty="0"/>
              <a:t>Main purposes of the </a:t>
            </a:r>
            <a:r>
              <a:rPr lang="en-AU" sz="3600" dirty="0" smtClean="0"/>
              <a:t>skills hierarchy</a:t>
            </a:r>
            <a:endParaRPr lang="en-AU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A205FD-DB8C-440E-ACB9-613C241B05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680"/>
            <a:ext cx="10972800" cy="3633788"/>
          </a:xfrm>
        </p:spPr>
        <p:txBody>
          <a:bodyPr/>
          <a:lstStyle/>
          <a:p>
            <a:pPr marL="0" indent="0">
              <a:buNone/>
            </a:pPr>
            <a:r>
              <a:rPr lang="en-AU" sz="2800" i="0" dirty="0" smtClean="0"/>
              <a:t>Search </a:t>
            </a:r>
            <a:r>
              <a:rPr lang="en-AU" sz="2800" i="0" dirty="0"/>
              <a:t>for and retrieve systematically </a:t>
            </a:r>
            <a:r>
              <a:rPr lang="en-AU" sz="2800" i="0" dirty="0" smtClean="0"/>
              <a:t>the 13,485 </a:t>
            </a:r>
            <a:r>
              <a:rPr lang="en-AU" sz="2800" i="0" dirty="0"/>
              <a:t>ESCO skill and knowledge concepts </a:t>
            </a:r>
            <a:r>
              <a:rPr lang="en-AU" sz="2800" i="0" dirty="0" smtClean="0"/>
              <a:t>to </a:t>
            </a:r>
            <a:r>
              <a:rPr lang="en-AU" sz="2800" i="0" dirty="0"/>
              <a:t>facilitate</a:t>
            </a:r>
          </a:p>
          <a:p>
            <a:pPr lvl="1"/>
            <a:r>
              <a:rPr lang="en-AU" sz="2400" dirty="0"/>
              <a:t>Compilation of CVs and </a:t>
            </a:r>
            <a:r>
              <a:rPr lang="en-AU" sz="2400" dirty="0" smtClean="0"/>
              <a:t>job vacancies</a:t>
            </a:r>
            <a:endParaRPr lang="en-AU" sz="2400" dirty="0"/>
          </a:p>
          <a:p>
            <a:pPr lvl="1"/>
            <a:r>
              <a:rPr lang="en-AU" sz="2400" dirty="0"/>
              <a:t>Annotation of </a:t>
            </a:r>
            <a:r>
              <a:rPr lang="en-AU" sz="2400" dirty="0" smtClean="0"/>
              <a:t>qualifications</a:t>
            </a:r>
          </a:p>
          <a:p>
            <a:pPr lvl="1"/>
            <a:r>
              <a:rPr lang="en-AU" sz="2400" dirty="0" smtClean="0"/>
              <a:t>Mapping national classifications </a:t>
            </a:r>
            <a:r>
              <a:rPr lang="en-AU" sz="2400" dirty="0"/>
              <a:t>to </a:t>
            </a:r>
            <a:r>
              <a:rPr lang="en-AU" sz="2400" dirty="0" smtClean="0"/>
              <a:t>ESCO</a:t>
            </a:r>
            <a:endParaRPr lang="en-AU" sz="2400" dirty="0"/>
          </a:p>
          <a:p>
            <a:pPr lvl="1"/>
            <a:r>
              <a:rPr lang="en-AU" sz="2400" dirty="0"/>
              <a:t>Creation of skill (self-)assessment tools</a:t>
            </a:r>
          </a:p>
          <a:p>
            <a:pPr lvl="1"/>
            <a:r>
              <a:rPr lang="en-AU" sz="2400" dirty="0"/>
              <a:t>Provision of targeted career </a:t>
            </a:r>
            <a:r>
              <a:rPr lang="en-AU" sz="2400" dirty="0" smtClean="0"/>
              <a:t>guidance</a:t>
            </a:r>
          </a:p>
          <a:p>
            <a:pPr lvl="1"/>
            <a:r>
              <a:rPr lang="en-AU" sz="2400" dirty="0" smtClean="0"/>
              <a:t>Matching </a:t>
            </a:r>
            <a:r>
              <a:rPr lang="en-AU" sz="2400" dirty="0"/>
              <a:t>jobseekers with job vacancies based on </a:t>
            </a:r>
            <a:r>
              <a:rPr lang="en-AU" sz="2400" dirty="0" smtClean="0"/>
              <a:t>skills</a:t>
            </a:r>
            <a:endParaRPr lang="en-AU" sz="2400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2279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2CD7D-D59F-4A1F-B96D-D9DDDE57F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ea typeface="Verdana"/>
              </a:rPr>
              <a:t>The skills hierarchy</a:t>
            </a:r>
            <a:br>
              <a:rPr lang="en-GB" dirty="0">
                <a:ea typeface="Verdana"/>
              </a:rPr>
            </a:br>
            <a:r>
              <a:rPr lang="en-GB" b="0" dirty="0">
                <a:ea typeface="Verdana"/>
              </a:rPr>
              <a:t>A new structure</a:t>
            </a:r>
            <a:endParaRPr lang="en-GB" dirty="0">
              <a:ea typeface="Verdan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0A3CA4-1878-4133-96C8-289D03CC8E13}"/>
              </a:ext>
            </a:extLst>
          </p:cNvPr>
          <p:cNvSpPr txBox="1"/>
          <p:nvPr/>
        </p:nvSpPr>
        <p:spPr>
          <a:xfrm>
            <a:off x="928255" y="2632364"/>
            <a:ext cx="3472262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>
                <a:ea typeface="+mn-lt"/>
                <a:cs typeface="+mn-lt"/>
              </a:rPr>
              <a:t>Developed by </a:t>
            </a:r>
            <a:r>
              <a:rPr lang="en-GB" b="1">
                <a:ea typeface="+mn-lt"/>
                <a:cs typeface="+mn-lt"/>
              </a:rPr>
              <a:t>experts </a:t>
            </a:r>
            <a:r>
              <a:rPr lang="en-GB">
                <a:ea typeface="+mn-lt"/>
                <a:cs typeface="+mn-lt"/>
              </a:rPr>
              <a:t>in 2019 and published in May 2020</a:t>
            </a:r>
          </a:p>
          <a:p>
            <a:pPr marL="285750" indent="-285750">
              <a:buFont typeface="Arial"/>
              <a:buChar char="•"/>
            </a:pPr>
            <a:r>
              <a:rPr lang="en-GB">
                <a:ea typeface="Verdana"/>
              </a:rPr>
              <a:t>Structured in </a:t>
            </a:r>
            <a:r>
              <a:rPr lang="en-GB" b="1">
                <a:ea typeface="Verdana"/>
              </a:rPr>
              <a:t>8 groups</a:t>
            </a:r>
            <a:r>
              <a:rPr lang="en-GB">
                <a:ea typeface="Verdana"/>
              </a:rPr>
              <a:t> and </a:t>
            </a:r>
            <a:r>
              <a:rPr lang="en-GB" b="1">
                <a:ea typeface="Verdana"/>
              </a:rPr>
              <a:t>3 levels</a:t>
            </a:r>
          </a:p>
          <a:p>
            <a:pPr marL="285750" indent="-285750">
              <a:buFont typeface="Arial"/>
              <a:buChar char="•"/>
            </a:pPr>
            <a:r>
              <a:rPr lang="en-GB" b="1">
                <a:ea typeface="Verdana"/>
              </a:rPr>
              <a:t>Sector-independent:</a:t>
            </a:r>
          </a:p>
          <a:p>
            <a:pPr marL="742950" lvl="1" indent="-285750">
              <a:buFont typeface="Wingdings"/>
              <a:buChar char="§"/>
            </a:pPr>
            <a:r>
              <a:rPr lang="en-GB">
                <a:ea typeface="Verdana"/>
              </a:rPr>
              <a:t>Tools and equipment used,</a:t>
            </a:r>
            <a:endParaRPr lang="en-GB" b="1" dirty="0">
              <a:ea typeface="Verdana"/>
            </a:endParaRPr>
          </a:p>
          <a:p>
            <a:pPr marL="742950" lvl="1" indent="-285750">
              <a:buFont typeface="Wingdings"/>
              <a:buChar char="§"/>
            </a:pPr>
            <a:r>
              <a:rPr lang="en-GB">
                <a:ea typeface="Verdana"/>
              </a:rPr>
              <a:t>Type of object on which the work is performed</a:t>
            </a:r>
          </a:p>
          <a:p>
            <a:pPr marL="742950" lvl="1" indent="-285750">
              <a:buFont typeface="Wingdings"/>
              <a:buChar char="§"/>
            </a:pPr>
            <a:r>
              <a:rPr lang="en-GB">
                <a:ea typeface="Verdana"/>
              </a:rPr>
              <a:t>The function or outcome of the task or activity</a:t>
            </a:r>
            <a:endParaRPr lang="en-GB" dirty="0">
              <a:ea typeface="Verdana"/>
            </a:endParaRPr>
          </a:p>
          <a:p>
            <a:pPr marL="742950" lvl="1" indent="-285750">
              <a:buFont typeface="Arial"/>
              <a:buChar char="•"/>
            </a:pPr>
            <a:endParaRPr lang="en-GB" dirty="0">
              <a:ea typeface="Verdana"/>
            </a:endParaRPr>
          </a:p>
        </p:txBody>
      </p:sp>
      <p:pic>
        <p:nvPicPr>
          <p:cNvPr id="9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510ADAD-6AB0-4390-9938-DC18D3BCAF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327" b="306"/>
          <a:stretch/>
        </p:blipFill>
        <p:spPr>
          <a:xfrm>
            <a:off x="5357004" y="1502719"/>
            <a:ext cx="6725941" cy="468645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23E3D1A-E418-4E0C-94DB-11360F8909ED}"/>
              </a:ext>
            </a:extLst>
          </p:cNvPr>
          <p:cNvSpPr/>
          <p:nvPr/>
        </p:nvSpPr>
        <p:spPr bwMode="auto">
          <a:xfrm>
            <a:off x="5652540" y="5244616"/>
            <a:ext cx="1868795" cy="27709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AE978E-E50E-4D0A-B223-D60B8E8CE613}"/>
              </a:ext>
            </a:extLst>
          </p:cNvPr>
          <p:cNvSpPr/>
          <p:nvPr/>
        </p:nvSpPr>
        <p:spPr bwMode="auto">
          <a:xfrm>
            <a:off x="5695672" y="5604049"/>
            <a:ext cx="1868795" cy="27709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ACAF95-AC3D-4CD5-B835-718D82B2F8BE}"/>
              </a:ext>
            </a:extLst>
          </p:cNvPr>
          <p:cNvSpPr/>
          <p:nvPr/>
        </p:nvSpPr>
        <p:spPr bwMode="auto">
          <a:xfrm>
            <a:off x="5839446" y="5963484"/>
            <a:ext cx="1868795" cy="27709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F6A376-29E2-4D48-BC42-B01BC288F314}"/>
              </a:ext>
            </a:extLst>
          </p:cNvPr>
          <p:cNvSpPr/>
          <p:nvPr/>
        </p:nvSpPr>
        <p:spPr bwMode="auto">
          <a:xfrm>
            <a:off x="5566275" y="3835634"/>
            <a:ext cx="776116" cy="262714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04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7720"/>
            <a:ext cx="10972800" cy="936625"/>
          </a:xfrm>
        </p:spPr>
        <p:txBody>
          <a:bodyPr/>
          <a:lstStyle/>
          <a:p>
            <a:pPr algn="ctr"/>
            <a:r>
              <a:rPr lang="en-GB" dirty="0" smtClean="0"/>
              <a:t>Mapping to national skill and occupation classifications for interoperabilit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37386"/>
            <a:ext cx="10972800" cy="3633788"/>
          </a:xfrm>
        </p:spPr>
        <p:txBody>
          <a:bodyPr/>
          <a:lstStyle/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EURES platform operations for job mobility in Europe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3-year period - until August 2021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Mapping platform with suggested and manual matchings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Technical support with documentation, webinars and country visits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Online community forum for Member States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141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301" y="459371"/>
            <a:ext cx="10857915" cy="936625"/>
          </a:xfrm>
        </p:spPr>
        <p:txBody>
          <a:bodyPr/>
          <a:lstStyle/>
          <a:p>
            <a:pPr algn="ctr"/>
            <a:r>
              <a:rPr lang="fr-BE" dirty="0" smtClean="0"/>
              <a:t>Communication and </a:t>
            </a:r>
            <a:r>
              <a:rPr lang="fr-BE" dirty="0" err="1" smtClean="0"/>
              <a:t>outrea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577" y="2185907"/>
            <a:ext cx="11061639" cy="3633788"/>
          </a:xfrm>
        </p:spPr>
        <p:txBody>
          <a:bodyPr/>
          <a:lstStyle/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Five Country events in 2019: Greece, Slovenia, Poland, Cyprus and Italy</a:t>
            </a:r>
          </a:p>
          <a:p>
            <a:pPr marL="0" indent="0">
              <a:buNone/>
            </a:pPr>
            <a:endParaRPr lang="en-IE" sz="1800" i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Study visits to ESCO implementers: </a:t>
            </a:r>
            <a:r>
              <a:rPr lang="en-GB" i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cebo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, Boost.rs, </a:t>
            </a:r>
            <a:r>
              <a:rPr lang="en-GB" i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xtkernel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i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ures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i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ch&amp;Zucker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8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Monitoring of ESCO use by implementers via video calls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09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4C4B4-3854-455B-858A-26F66DADD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255" y="980748"/>
            <a:ext cx="10668962" cy="936625"/>
          </a:xfrm>
        </p:spPr>
        <p:txBody>
          <a:bodyPr/>
          <a:lstStyle/>
          <a:p>
            <a:r>
              <a:rPr lang="en-GB" dirty="0">
                <a:ea typeface="Verdana"/>
              </a:rPr>
              <a:t>ESCO v1.1</a:t>
            </a:r>
            <a:br>
              <a:rPr lang="en-GB" dirty="0">
                <a:ea typeface="Verdana"/>
              </a:rPr>
            </a:br>
            <a:r>
              <a:rPr lang="en-GB" b="0" dirty="0">
                <a:ea typeface="Verdana"/>
              </a:rPr>
              <a:t>Goals &amp; approach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FECE6E7-F226-4998-A89D-952E36B0E46B}"/>
              </a:ext>
            </a:extLst>
          </p:cNvPr>
          <p:cNvGraphicFramePr/>
          <p:nvPr>
            <p:extLst/>
          </p:nvPr>
        </p:nvGraphicFramePr>
        <p:xfrm>
          <a:off x="5810752" y="980748"/>
          <a:ext cx="5583208" cy="47519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80" name="TextBox 579">
            <a:extLst>
              <a:ext uri="{FF2B5EF4-FFF2-40B4-BE49-F238E27FC236}">
                <a16:creationId xmlns:a16="http://schemas.microsoft.com/office/drawing/2014/main" id="{335D34FB-24F4-4AE9-9C26-0B7096C965E9}"/>
              </a:ext>
            </a:extLst>
          </p:cNvPr>
          <p:cNvSpPr txBox="1"/>
          <p:nvPr/>
        </p:nvSpPr>
        <p:spPr>
          <a:xfrm>
            <a:off x="928255" y="2632364"/>
            <a:ext cx="4336472" cy="31393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dirty="0">
                <a:ea typeface="+mn-lt"/>
                <a:cs typeface="+mn-lt"/>
              </a:rPr>
              <a:t>ESCO needs to be kept </a:t>
            </a:r>
            <a:r>
              <a:rPr lang="en-GB" b="1" dirty="0">
                <a:ea typeface="+mn-lt"/>
                <a:cs typeface="+mn-lt"/>
              </a:rPr>
              <a:t>up-to-date</a:t>
            </a:r>
            <a:r>
              <a:rPr lang="en-GB" dirty="0">
                <a:ea typeface="+mn-lt"/>
                <a:cs typeface="+mn-lt"/>
              </a:rPr>
              <a:t> to reflect new realities in the labour </a:t>
            </a:r>
            <a:r>
              <a:rPr lang="en-GB" dirty="0" smtClean="0">
                <a:ea typeface="+mn-lt"/>
                <a:cs typeface="+mn-lt"/>
              </a:rPr>
              <a:t>market</a:t>
            </a:r>
            <a:endParaRPr lang="en-GB" dirty="0">
              <a:ea typeface="+mn-lt"/>
              <a:cs typeface="+mn-lt"/>
            </a:endParaRPr>
          </a:p>
          <a:p>
            <a:pPr marL="285750" indent="-285750">
              <a:buFont typeface="Wingdings"/>
              <a:buChar char="§"/>
            </a:pPr>
            <a:r>
              <a:rPr lang="en-GB" dirty="0">
                <a:ea typeface="Verdana"/>
              </a:rPr>
              <a:t>Greening of the economy</a:t>
            </a:r>
          </a:p>
          <a:p>
            <a:pPr marL="285750" indent="-285750">
              <a:buFont typeface="Wingdings"/>
              <a:buChar char="§"/>
            </a:pPr>
            <a:r>
              <a:rPr lang="en-GB" dirty="0">
                <a:ea typeface="Verdana"/>
              </a:rPr>
              <a:t>Digitalisation and new technologies</a:t>
            </a:r>
          </a:p>
          <a:p>
            <a:pPr marL="285750" indent="-285750">
              <a:buFont typeface="Wingdings"/>
              <a:buChar char="§"/>
            </a:pPr>
            <a:r>
              <a:rPr lang="en-GB" dirty="0">
                <a:ea typeface="Verdana"/>
              </a:rPr>
              <a:t>COVID-19 changes</a:t>
            </a:r>
          </a:p>
          <a:p>
            <a:endParaRPr lang="en-GB" dirty="0">
              <a:ea typeface="Verdana"/>
            </a:endParaRPr>
          </a:p>
          <a:p>
            <a:r>
              <a:rPr lang="en-GB" dirty="0" smtClean="0">
                <a:ea typeface="Verdana"/>
              </a:rPr>
              <a:t>ESCO </a:t>
            </a:r>
            <a:r>
              <a:rPr lang="en-GB" dirty="0">
                <a:ea typeface="Verdana"/>
              </a:rPr>
              <a:t>requires </a:t>
            </a:r>
            <a:r>
              <a:rPr lang="en-GB" b="1" dirty="0">
                <a:ea typeface="Verdana"/>
              </a:rPr>
              <a:t>quality assurance </a:t>
            </a:r>
            <a:r>
              <a:rPr lang="en-GB" dirty="0">
                <a:ea typeface="Verdana"/>
              </a:rPr>
              <a:t>activities (terminological issues, translations, etc.)</a:t>
            </a:r>
          </a:p>
        </p:txBody>
      </p:sp>
    </p:spTree>
    <p:extLst>
      <p:ext uri="{BB962C8B-B14F-4D97-AF65-F5344CB8AC3E}">
        <p14:creationId xmlns:p14="http://schemas.microsoft.com/office/powerpoint/2010/main" val="2252140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920" y="506028"/>
            <a:ext cx="10972800" cy="1543863"/>
          </a:xfrm>
        </p:spPr>
        <p:txBody>
          <a:bodyPr/>
          <a:lstStyle/>
          <a:p>
            <a:pPr algn="ctr"/>
            <a:r>
              <a:rPr lang="fr-B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EU goals in a digital labour </a:t>
            </a:r>
            <a:r>
              <a:rPr lang="fr-BE" sz="3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rket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66920" y="2049891"/>
            <a:ext cx="11151700" cy="41440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Better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link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education-training to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labour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     ensure access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o the best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Ensure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ransparency of information on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skills through systems’ interoperability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Allow open-fair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access to information on skills, qualifications, jobs and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	avoid monopolisation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of data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in digital labour market</a:t>
            </a:r>
            <a:endParaRPr lang="fr-B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BE" sz="1800" i="0" dirty="0"/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uropean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open standards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counteract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risks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proprietary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standards </a:t>
            </a:r>
            <a:endParaRPr lang="fr-B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fr-BE" dirty="0"/>
          </a:p>
        </p:txBody>
      </p:sp>
      <p:sp>
        <p:nvSpPr>
          <p:cNvPr id="3" name="Right Arrow 2"/>
          <p:cNvSpPr/>
          <p:nvPr/>
        </p:nvSpPr>
        <p:spPr>
          <a:xfrm>
            <a:off x="6002825" y="2225584"/>
            <a:ext cx="298915" cy="125730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6" name="Right Arrow 5"/>
          <p:cNvSpPr/>
          <p:nvPr/>
        </p:nvSpPr>
        <p:spPr>
          <a:xfrm>
            <a:off x="1169581" y="4846864"/>
            <a:ext cx="298915" cy="125730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7" name="Right Arrow 6"/>
          <p:cNvSpPr/>
          <p:nvPr/>
        </p:nvSpPr>
        <p:spPr>
          <a:xfrm>
            <a:off x="1169584" y="5621918"/>
            <a:ext cx="298915" cy="125730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</p:spTree>
    <p:extLst>
      <p:ext uri="{BB962C8B-B14F-4D97-AF65-F5344CB8AC3E}">
        <p14:creationId xmlns:p14="http://schemas.microsoft.com/office/powerpoint/2010/main" val="423319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87A01-FDF0-4A1A-8853-7DF819EC3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ea typeface="Verdana"/>
              </a:rPr>
              <a:t>ESCO v1.1</a:t>
            </a:r>
            <a:r>
              <a:rPr lang="en-GB" dirty="0">
                <a:ea typeface="Verdana"/>
              </a:rPr>
              <a:t/>
            </a:r>
            <a:br>
              <a:rPr lang="en-GB" dirty="0">
                <a:ea typeface="Verdana"/>
              </a:rPr>
            </a:br>
            <a:r>
              <a:rPr lang="en-GB" b="0">
                <a:ea typeface="Verdana"/>
              </a:rPr>
              <a:t>Timeline and activities</a:t>
            </a:r>
            <a:endParaRPr lang="en-GB"/>
          </a:p>
        </p:txBody>
      </p:sp>
      <p:graphicFrame>
        <p:nvGraphicFramePr>
          <p:cNvPr id="4" name="Diagram 4">
            <a:extLst>
              <a:ext uri="{FF2B5EF4-FFF2-40B4-BE49-F238E27FC236}">
                <a16:creationId xmlns:a16="http://schemas.microsoft.com/office/drawing/2014/main" id="{7A9C7F90-42F6-424C-9B88-C9B55F8E968C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526473" y="2603211"/>
          <a:ext cx="5832765" cy="1866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313" name="Diagram 4">
            <a:extLst>
              <a:ext uri="{FF2B5EF4-FFF2-40B4-BE49-F238E27FC236}">
                <a16:creationId xmlns:a16="http://schemas.microsoft.com/office/drawing/2014/main" id="{1AB4D092-D086-4A06-96D0-BD2CB140AEA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95746" y="4750664"/>
          <a:ext cx="8534401" cy="2143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678" name="Picture 2678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C84826-B11C-477D-ACFC-884176E8B77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20691" y="1595126"/>
            <a:ext cx="5832763" cy="3279822"/>
          </a:xfrm>
          <a:prstGeom prst="rect">
            <a:avLst/>
          </a:prstGeom>
        </p:spPr>
      </p:pic>
      <p:sp>
        <p:nvSpPr>
          <p:cNvPr id="2680" name="Rectangle 2679">
            <a:extLst>
              <a:ext uri="{FF2B5EF4-FFF2-40B4-BE49-F238E27FC236}">
                <a16:creationId xmlns:a16="http://schemas.microsoft.com/office/drawing/2014/main" id="{BDC942B5-470A-48BB-99A1-95A3FEEBB290}"/>
              </a:ext>
            </a:extLst>
          </p:cNvPr>
          <p:cNvSpPr/>
          <p:nvPr/>
        </p:nvSpPr>
        <p:spPr bwMode="auto">
          <a:xfrm>
            <a:off x="6155748" y="1535257"/>
            <a:ext cx="1149928" cy="27709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070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8076F75-DA1A-4D12-AF95-6692202F9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1339850"/>
            <a:ext cx="10972800" cy="936625"/>
          </a:xfrm>
        </p:spPr>
        <p:txBody>
          <a:bodyPr/>
          <a:lstStyle/>
          <a:p>
            <a:r>
              <a:rPr lang="en-US">
                <a:ea typeface="Verdana"/>
              </a:rPr>
              <a:t>ESCO v1.1</a:t>
            </a:r>
            <a:r>
              <a:rPr lang="en-US" dirty="0">
                <a:ea typeface="Verdana"/>
              </a:rPr>
              <a:t/>
            </a:r>
            <a:br>
              <a:rPr lang="en-US" dirty="0">
                <a:ea typeface="Verdana"/>
              </a:rPr>
            </a:br>
            <a:r>
              <a:rPr lang="en-US" b="0">
                <a:ea typeface="Verdana"/>
              </a:rPr>
              <a:t>Insights</a:t>
            </a:r>
            <a:endParaRPr lang="en-US"/>
          </a:p>
        </p:txBody>
      </p:sp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F6975788-EB8A-4C5C-8BA6-926C275F48F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09600" y="2742408"/>
            <a:ext cx="5384800" cy="3028949"/>
          </a:xfrm>
          <a:noFill/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B745948-8F98-489C-AD5F-B2B6147CF454}"/>
              </a:ext>
            </a:extLst>
          </p:cNvPr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6197600" y="2492375"/>
          <a:ext cx="5710384" cy="385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949">
                  <a:extLst>
                    <a:ext uri="{9D8B030D-6E8A-4147-A177-3AD203B41FA5}">
                      <a16:colId xmlns:a16="http://schemas.microsoft.com/office/drawing/2014/main" val="348290640"/>
                    </a:ext>
                  </a:extLst>
                </a:gridCol>
                <a:gridCol w="1361972">
                  <a:extLst>
                    <a:ext uri="{9D8B030D-6E8A-4147-A177-3AD203B41FA5}">
                      <a16:colId xmlns:a16="http://schemas.microsoft.com/office/drawing/2014/main" val="469125917"/>
                    </a:ext>
                  </a:extLst>
                </a:gridCol>
                <a:gridCol w="3343463">
                  <a:extLst>
                    <a:ext uri="{9D8B030D-6E8A-4147-A177-3AD203B41FA5}">
                      <a16:colId xmlns:a16="http://schemas.microsoft.com/office/drawing/2014/main" val="16041391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chemeClr val="accent6"/>
                          </a:solidFill>
                        </a:rPr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>
                          <a:solidFill>
                            <a:schemeClr val="accent6"/>
                          </a:solidFill>
                        </a:rPr>
                        <a:t>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>
                          <a:solidFill>
                            <a:schemeClr val="accent6"/>
                          </a:solidFill>
                        </a:rPr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9776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Digita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/>
                        <a:t>Occupatio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/>
                        <a:t>Cloud engineer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885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Gree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Occupation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Geothermal engineer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67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Other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Occupation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Contact tracing agent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14172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Digita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/>
                        <a:t>Skil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Collect cyber defence data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05112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Gree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Skill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Apply procedures and regulations for eco-labelling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3313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Other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Skill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Manage intellectual property rights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0692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Digita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/>
                        <a:t>Knowledg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Advanced driver assistant systems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2597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Gree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Knowledg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Bioeconomy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4152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Other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0" i="0" u="none" strike="noStrike" noProof="0">
                          <a:latin typeface="Verdana"/>
                        </a:rPr>
                        <a:t>Knowledg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Social bonds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5066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779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8287" y="1468741"/>
            <a:ext cx="10291602" cy="936625"/>
          </a:xfrm>
        </p:spPr>
        <p:txBody>
          <a:bodyPr anchor="t"/>
          <a:lstStyle/>
          <a:p>
            <a:pPr marL="0" algn="ctr"/>
            <a:r>
              <a:rPr lang="en-GB" dirty="0" smtClean="0"/>
              <a:t>Data </a:t>
            </a:r>
            <a:r>
              <a:rPr lang="en-GB" dirty="0"/>
              <a:t>Science </a:t>
            </a:r>
            <a:r>
              <a:rPr lang="en-GB" dirty="0" smtClean="0"/>
              <a:t>in </a:t>
            </a:r>
            <a:r>
              <a:rPr lang="en-GB" dirty="0"/>
              <a:t>ESCO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3C08F7-6F9A-41D5-B1D8-41E8D535AB9F}" type="slidenum">
              <a:rPr lang="es-ES" sz="75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2</a:t>
            </a:fld>
            <a:endParaRPr lang="es-ES" sz="75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28D184-A3D2-4441-81F0-22BCFF0123D3}"/>
              </a:ext>
            </a:extLst>
          </p:cNvPr>
          <p:cNvSpPr txBox="1"/>
          <p:nvPr/>
        </p:nvSpPr>
        <p:spPr>
          <a:xfrm>
            <a:off x="923060" y="2836718"/>
            <a:ext cx="9315448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rgbClr val="0F5494"/>
                </a:solidFill>
                <a:latin typeface="+mj-lt"/>
                <a:ea typeface="+mj-ea"/>
                <a:cs typeface="+mj-cs"/>
              </a:rPr>
              <a:t>Use an analytical approach based on statistical analysis, data science and machine learning to assist in:</a:t>
            </a:r>
          </a:p>
          <a:p>
            <a:endParaRPr lang="en-US" sz="2400" dirty="0">
              <a:solidFill>
                <a:srgbClr val="0F5494"/>
              </a:solidFill>
              <a:latin typeface="+mj-lt"/>
              <a:ea typeface="+mj-ea"/>
              <a:cs typeface="+mj-cs"/>
            </a:endParaRPr>
          </a:p>
          <a:p>
            <a:r>
              <a:rPr lang="en-US" sz="2400" dirty="0">
                <a:solidFill>
                  <a:srgbClr val="0F5494"/>
                </a:solidFill>
                <a:latin typeface="+mj-lt"/>
                <a:ea typeface="+mj-ea"/>
                <a:cs typeface="+mj-cs"/>
              </a:rPr>
              <a:t>1) Making maintenance of ESCO more efficient</a:t>
            </a:r>
          </a:p>
          <a:p>
            <a:r>
              <a:rPr lang="en-US" sz="2400" dirty="0">
                <a:solidFill>
                  <a:srgbClr val="0F5494"/>
                </a:solidFill>
                <a:latin typeface="+mj-lt"/>
                <a:ea typeface="+mj-ea"/>
                <a:cs typeface="+mj-cs"/>
              </a:rPr>
              <a:t>2) Expanding ESCO</a:t>
            </a:r>
          </a:p>
          <a:p>
            <a:r>
              <a:rPr lang="en-US" sz="2400" dirty="0">
                <a:solidFill>
                  <a:srgbClr val="0F5494"/>
                </a:solidFill>
                <a:latin typeface="+mj-lt"/>
                <a:ea typeface="+mj-ea"/>
                <a:cs typeface="+mj-cs"/>
              </a:rPr>
              <a:t>3) Making ESCO easier to use by implementers</a:t>
            </a:r>
          </a:p>
        </p:txBody>
      </p:sp>
    </p:spTree>
    <p:extLst>
      <p:ext uri="{BB962C8B-B14F-4D97-AF65-F5344CB8AC3E}">
        <p14:creationId xmlns:p14="http://schemas.microsoft.com/office/powerpoint/2010/main" val="171620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7019" y="712736"/>
            <a:ext cx="11914908" cy="936625"/>
          </a:xfrm>
        </p:spPr>
        <p:txBody>
          <a:bodyPr anchor="t"/>
          <a:lstStyle/>
          <a:p>
            <a:pPr marL="0" algn="ctr"/>
            <a:r>
              <a:rPr lang="en-GB" dirty="0">
                <a:ea typeface="+mj-lt"/>
                <a:cs typeface="+mj-lt"/>
              </a:rPr>
              <a:t>Beyond Experts: Mapping other Data Sources</a:t>
            </a:r>
            <a:endParaRPr lang="en-US" dirty="0">
              <a:ea typeface="+mj-lt"/>
              <a:cs typeface="+mj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3C08F7-6F9A-41D5-B1D8-41E8D535AB9F}" type="slidenum">
              <a:rPr lang="es-ES" sz="75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3</a:t>
            </a:fld>
            <a:endParaRPr lang="es-ES" sz="75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16" name="Text Placeholder 4"/>
          <p:cNvSpPr txBox="1">
            <a:spLocks/>
          </p:cNvSpPr>
          <p:nvPr/>
        </p:nvSpPr>
        <p:spPr>
          <a:xfrm>
            <a:off x="157019" y="2117674"/>
            <a:ext cx="2787194" cy="14008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Expert Data</a:t>
            </a:r>
            <a:r>
              <a:rPr lang="en-GB" dirty="0">
                <a:solidFill>
                  <a:schemeClr val="tx1"/>
                </a:solidFill>
              </a:rPr>
              <a:t>:</a:t>
            </a:r>
          </a:p>
          <a:p>
            <a:pPr lvl="1"/>
            <a:r>
              <a:rPr lang="en-GB" sz="1400" dirty="0"/>
              <a:t>Blueprints</a:t>
            </a:r>
          </a:p>
          <a:p>
            <a:pPr lvl="1"/>
            <a:r>
              <a:rPr lang="en-GB" sz="1400" dirty="0" smtClean="0"/>
              <a:t>Projects</a:t>
            </a:r>
            <a:endParaRPr lang="en-GB" sz="1400" dirty="0"/>
          </a:p>
          <a:p>
            <a:pPr lvl="1"/>
            <a:r>
              <a:rPr lang="en-GB" sz="1400" dirty="0"/>
              <a:t>European associations</a:t>
            </a:r>
          </a:p>
          <a:p>
            <a:pPr lvl="1"/>
            <a:r>
              <a:rPr lang="en-GB" sz="1400" dirty="0"/>
              <a:t>Companies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4469" y="3054299"/>
            <a:ext cx="2381715" cy="1237994"/>
          </a:xfrm>
          <a:prstGeom prst="rect">
            <a:avLst/>
          </a:prstGeom>
          <a:ln>
            <a:solidFill>
              <a:schemeClr val="dk1"/>
            </a:solidFill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3548" y="2077548"/>
            <a:ext cx="2368723" cy="1270935"/>
          </a:xfrm>
          <a:prstGeom prst="rect">
            <a:avLst/>
          </a:prstGeom>
          <a:ln>
            <a:solidFill>
              <a:schemeClr val="dk1"/>
            </a:solidFill>
          </a:ln>
        </p:spPr>
      </p:pic>
      <p:pic>
        <p:nvPicPr>
          <p:cNvPr id="19" name="Picture 2" descr="Project to use ESCO Classificati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009" y="4083931"/>
            <a:ext cx="2222496" cy="1166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 Placeholder 4"/>
          <p:cNvSpPr txBox="1">
            <a:spLocks/>
          </p:cNvSpPr>
          <p:nvPr/>
        </p:nvSpPr>
        <p:spPr>
          <a:xfrm>
            <a:off x="10918656" y="2077548"/>
            <a:ext cx="1220193" cy="3401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Vacancies</a:t>
            </a:r>
            <a:endParaRPr lang="en-GB" dirty="0"/>
          </a:p>
          <a:p>
            <a:pPr lvl="1"/>
            <a:endParaRPr lang="en-GB" sz="1400" dirty="0"/>
          </a:p>
          <a:p>
            <a:pPr lvl="1"/>
            <a:endParaRPr lang="en-GB" sz="1400" dirty="0"/>
          </a:p>
          <a:p>
            <a:pPr marL="1028700" lvl="1" indent="-342900"/>
            <a:endParaRPr lang="en-GB" sz="1200" dirty="0"/>
          </a:p>
          <a:p>
            <a:pPr marL="342900" indent="-342900"/>
            <a:r>
              <a:rPr lang="en-GB" sz="200" dirty="0"/>
              <a:t>2</a:t>
            </a:r>
          </a:p>
          <a:p>
            <a:endParaRPr lang="en-GB" dirty="0"/>
          </a:p>
        </p:txBody>
      </p:sp>
      <p:sp>
        <p:nvSpPr>
          <p:cNvPr id="22" name="Text Placeholder 4"/>
          <p:cNvSpPr txBox="1">
            <a:spLocks/>
          </p:cNvSpPr>
          <p:nvPr/>
        </p:nvSpPr>
        <p:spPr>
          <a:xfrm>
            <a:off x="157019" y="5339761"/>
            <a:ext cx="2216726" cy="701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tx1"/>
                </a:solidFill>
              </a:rPr>
              <a:t>Taxonomies</a:t>
            </a:r>
            <a:r>
              <a:rPr lang="en-GB" dirty="0">
                <a:solidFill>
                  <a:schemeClr val="tx1"/>
                </a:solidFill>
              </a:rPr>
              <a:t>:</a:t>
            </a:r>
          </a:p>
          <a:p>
            <a:pPr lvl="1"/>
            <a:r>
              <a:rPr lang="en-GB" sz="1400" dirty="0"/>
              <a:t>Member </a:t>
            </a:r>
            <a:r>
              <a:rPr lang="en-GB" sz="1400" dirty="0" smtClean="0"/>
              <a:t>States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7284" y="5326811"/>
            <a:ext cx="2188900" cy="1394664"/>
          </a:xfrm>
          <a:prstGeom prst="rect">
            <a:avLst/>
          </a:prstGeom>
          <a:ln>
            <a:solidFill>
              <a:schemeClr val="dk1"/>
            </a:solidFill>
          </a:ln>
        </p:spPr>
      </p:pic>
      <p:sp>
        <p:nvSpPr>
          <p:cNvPr id="24" name="Text Placeholder 4"/>
          <p:cNvSpPr txBox="1">
            <a:spLocks/>
          </p:cNvSpPr>
          <p:nvPr/>
        </p:nvSpPr>
        <p:spPr>
          <a:xfrm>
            <a:off x="9884732" y="6462041"/>
            <a:ext cx="2187195" cy="6418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>
                <a:solidFill>
                  <a:schemeClr val="tx1"/>
                </a:solidFill>
              </a:rPr>
              <a:t>Qualifications</a:t>
            </a:r>
            <a:endParaRPr lang="en-GB" sz="1400" dirty="0">
              <a:solidFill>
                <a:schemeClr val="tx1"/>
              </a:solidFill>
            </a:endParaRPr>
          </a:p>
          <a:p>
            <a:pPr lvl="1"/>
            <a:endParaRPr lang="en-GB" sz="1400" dirty="0"/>
          </a:p>
          <a:p>
            <a:pPr lvl="1"/>
            <a:endParaRPr lang="en-GB" sz="1400" dirty="0"/>
          </a:p>
          <a:p>
            <a:pPr marL="1028700" lvl="1" indent="-342900"/>
            <a:endParaRPr lang="en-GB" sz="1200" dirty="0"/>
          </a:p>
          <a:p>
            <a:pPr marL="342900" indent="-342900"/>
            <a:r>
              <a:rPr lang="en-GB" sz="200" dirty="0"/>
              <a:t>2</a:t>
            </a:r>
          </a:p>
          <a:p>
            <a:endParaRPr lang="en-GB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1905" y="5005298"/>
            <a:ext cx="2018542" cy="1370570"/>
          </a:xfrm>
          <a:prstGeom prst="rect">
            <a:avLst/>
          </a:prstGeom>
          <a:ln>
            <a:solidFill>
              <a:schemeClr val="dk1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24841" y="2307445"/>
            <a:ext cx="2040666" cy="1734473"/>
          </a:xfrm>
          <a:prstGeom prst="rect">
            <a:avLst/>
          </a:prstGeom>
          <a:ln>
            <a:solidFill>
              <a:schemeClr val="dk1"/>
            </a:solidFill>
          </a:ln>
        </p:spPr>
      </p:pic>
      <p:sp>
        <p:nvSpPr>
          <p:cNvPr id="26" name="Right Arrow 25"/>
          <p:cNvSpPr/>
          <p:nvPr/>
        </p:nvSpPr>
        <p:spPr bwMode="auto">
          <a:xfrm rot="8316905">
            <a:off x="7772584" y="3440992"/>
            <a:ext cx="983673" cy="315109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 rot="11757025">
            <a:off x="8173305" y="5289122"/>
            <a:ext cx="983673" cy="315109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 rot="19178439">
            <a:off x="4649646" y="5531747"/>
            <a:ext cx="983673" cy="315109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 rot="2744046">
            <a:off x="5094048" y="3346285"/>
            <a:ext cx="983673" cy="315109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85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13064"/>
            <a:ext cx="12192000" cy="71223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scene3d>
            <a:camera prst="obliqueTopLeft"/>
            <a:lightRig rig="threePt" dir="t"/>
          </a:scene3d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2381" fontAlgn="base">
              <a:spcBef>
                <a:spcPct val="0"/>
              </a:spcBef>
              <a:spcAft>
                <a:spcPct val="0"/>
              </a:spcAft>
            </a:pPr>
            <a:endParaRPr lang="en-GB" sz="900">
              <a:solidFill>
                <a:srgbClr val="0F5494"/>
              </a:solidFill>
            </a:endParaRPr>
          </a:p>
        </p:txBody>
      </p:sp>
      <p:pic>
        <p:nvPicPr>
          <p:cNvPr id="9219" name="Picture 3" descr="C:\Users\levrama\AppData\Local\Temp\1\7zE010B05A2\Twitter_Logo_Blu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670" y="1843351"/>
            <a:ext cx="2304256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071170" y="2118825"/>
            <a:ext cx="402020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200" b="1" dirty="0" smtClean="0">
                <a:solidFill>
                  <a:srgbClr val="00B0F0"/>
                </a:solidFill>
                <a:latin typeface="Calibri Light" panose="020F0302020204030204" pitchFamily="34" charset="0"/>
              </a:rPr>
              <a:t>#ESCO_EU</a:t>
            </a:r>
          </a:p>
        </p:txBody>
      </p:sp>
      <p:sp>
        <p:nvSpPr>
          <p:cNvPr id="4" name="Rectangle 3"/>
          <p:cNvSpPr/>
          <p:nvPr/>
        </p:nvSpPr>
        <p:spPr>
          <a:xfrm>
            <a:off x="2919041" y="3850509"/>
            <a:ext cx="7780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dirty="0" smtClean="0">
                <a:solidFill>
                  <a:schemeClr val="accent1">
                    <a:lumMod val="25000"/>
                  </a:schemeClr>
                </a:solidFill>
                <a:latin typeface="Calibri Light" panose="020F0302020204030204" pitchFamily="34" charset="0"/>
                <a:hlinkClick r:id="rId4"/>
              </a:rPr>
              <a:t>empl-esco-secretariat@ec.europa.eu</a:t>
            </a:r>
            <a:r>
              <a:rPr lang="de-DE" sz="3600" b="1" dirty="0" smtClean="0">
                <a:solidFill>
                  <a:schemeClr val="accent1">
                    <a:lumMod val="25000"/>
                  </a:schemeClr>
                </a:solidFill>
                <a:latin typeface="Calibri Light" panose="020F0302020204030204" pitchFamily="34" charset="0"/>
              </a:rPr>
              <a:t> </a:t>
            </a:r>
            <a:endParaRPr lang="de-DE" sz="3600" b="1" dirty="0">
              <a:solidFill>
                <a:schemeClr val="accent1">
                  <a:lumMod val="2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0" y="3540723"/>
            <a:ext cx="1438214" cy="14196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625" b="1" dirty="0">
                <a:solidFill>
                  <a:schemeClr val="accent1">
                    <a:lumMod val="25000"/>
                  </a:schemeClr>
                </a:solidFill>
                <a:sym typeface="Wingdings"/>
              </a:rPr>
              <a:t></a:t>
            </a:r>
            <a:endParaRPr lang="en-GB" sz="8625" b="1" dirty="0">
              <a:solidFill>
                <a:schemeClr val="accent1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40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</p:spPr>
      </p:pic>
    </p:spTree>
    <p:extLst>
      <p:ext uri="{BB962C8B-B14F-4D97-AF65-F5344CB8AC3E}">
        <p14:creationId xmlns:p14="http://schemas.microsoft.com/office/powerpoint/2010/main" val="11257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1376413" y="251601"/>
            <a:ext cx="8758989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US" altLang="en-US" sz="5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SCO</a:t>
            </a:r>
          </a:p>
          <a:p>
            <a:pPr algn="ctr"/>
            <a:r>
              <a:rPr lang="en-US" altLang="en-US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uropean Skills, Occupations and Qualifications</a:t>
            </a:r>
            <a:endParaRPr lang="en-US" altLang="en-US" sz="2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an 31"/>
          <p:cNvSpPr/>
          <p:nvPr/>
        </p:nvSpPr>
        <p:spPr bwMode="auto">
          <a:xfrm>
            <a:off x="2301260" y="2038989"/>
            <a:ext cx="1653243" cy="2372652"/>
          </a:xfrm>
          <a:prstGeom prst="can">
            <a:avLst/>
          </a:prstGeom>
          <a:gradFill flip="none" rotWithShape="1">
            <a:gsLst>
              <a:gs pos="0">
                <a:srgbClr val="44A513">
                  <a:shade val="30000"/>
                  <a:satMod val="115000"/>
                </a:srgbClr>
              </a:gs>
              <a:gs pos="50000">
                <a:srgbClr val="44A513">
                  <a:shade val="67500"/>
                  <a:satMod val="115000"/>
                </a:srgbClr>
              </a:gs>
              <a:gs pos="100000">
                <a:srgbClr val="44A513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F5494"/>
              </a:solidFill>
              <a:latin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31570" y="4695835"/>
            <a:ext cx="21926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 dirty="0">
                <a:solidFill>
                  <a:srgbClr val="44A513"/>
                </a:solidFill>
                <a:latin typeface="Calibri Light" panose="020F0302020204030204" pitchFamily="34" charset="0"/>
              </a:rPr>
              <a:t>3 000  </a:t>
            </a:r>
            <a:br>
              <a:rPr lang="de-DE" sz="3200" b="1" dirty="0">
                <a:solidFill>
                  <a:srgbClr val="44A513"/>
                </a:solidFill>
                <a:latin typeface="Calibri Light" panose="020F0302020204030204" pitchFamily="34" charset="0"/>
              </a:rPr>
            </a:br>
            <a:r>
              <a:rPr lang="de-DE" sz="3200" b="1" dirty="0" err="1">
                <a:solidFill>
                  <a:srgbClr val="44A513"/>
                </a:solidFill>
                <a:latin typeface="Calibri Light" panose="020F0302020204030204" pitchFamily="34" charset="0"/>
              </a:rPr>
              <a:t>O</a:t>
            </a:r>
            <a:r>
              <a:rPr lang="de-DE" sz="3200" b="1" dirty="0" err="1" smtClean="0">
                <a:solidFill>
                  <a:srgbClr val="44A513"/>
                </a:solidFill>
                <a:latin typeface="Calibri Light" panose="020F0302020204030204" pitchFamily="34" charset="0"/>
              </a:rPr>
              <a:t>ccupations</a:t>
            </a:r>
            <a:endParaRPr lang="en-GB" sz="3200" b="1" dirty="0">
              <a:solidFill>
                <a:srgbClr val="44A513"/>
              </a:solidFill>
              <a:latin typeface="Calibri Light" panose="020F030202020403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30682" y="4695835"/>
            <a:ext cx="313239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rgbClr val="C00000"/>
                </a:solidFill>
                <a:latin typeface="Calibri Light" panose="020F0302020204030204" pitchFamily="34" charset="0"/>
              </a:rPr>
              <a:t>13 500</a:t>
            </a:r>
          </a:p>
          <a:p>
            <a:pPr algn="ctr"/>
            <a:r>
              <a:rPr lang="de-DE" sz="3200" b="1" dirty="0" smtClean="0">
                <a:solidFill>
                  <a:srgbClr val="C00000"/>
                </a:solidFill>
                <a:latin typeface="Calibri Light" panose="020F0302020204030204" pitchFamily="34" charset="0"/>
              </a:rPr>
              <a:t>Skills + Knowledge</a:t>
            </a:r>
            <a:endParaRPr lang="en-GB" sz="3200" b="1" dirty="0">
              <a:solidFill>
                <a:srgbClr val="C00000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>
            <a:off x="4864607" y="3225315"/>
            <a:ext cx="2188329" cy="0"/>
          </a:xfrm>
          <a:prstGeom prst="straightConnector1">
            <a:avLst/>
          </a:prstGeom>
          <a:noFill/>
          <a:ln w="762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Can 4"/>
          <p:cNvSpPr/>
          <p:nvPr/>
        </p:nvSpPr>
        <p:spPr bwMode="auto">
          <a:xfrm>
            <a:off x="7784754" y="2038989"/>
            <a:ext cx="1672755" cy="2389437"/>
          </a:xfrm>
          <a:prstGeom prst="can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F549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5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920" y="342398"/>
            <a:ext cx="10972800" cy="1543863"/>
          </a:xfrm>
        </p:spPr>
        <p:txBody>
          <a:bodyPr/>
          <a:lstStyle/>
          <a:p>
            <a:pPr algn="ctr"/>
            <a:r>
              <a:rPr lang="fr-BE" sz="3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arly</a:t>
            </a:r>
            <a:r>
              <a:rPr lang="fr-B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 stage 2011-2017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66920" y="2271272"/>
            <a:ext cx="11151700" cy="41440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 of version 1.0,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for use in </a:t>
            </a: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systems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providing services to end users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Close collaboration with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stakeholders and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Member State </a:t>
            </a: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experts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Reference Groups for sectoral expertise and online consultation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Sources: national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classification systems, reports, research </a:t>
            </a: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papers,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job </a:t>
            </a:r>
            <a:r>
              <a:rPr lang="en-US" i="0" dirty="0" smtClean="0">
                <a:latin typeface="Arial" panose="020B0604020202020204" pitchFamily="34" charset="0"/>
                <a:cs typeface="Arial" panose="020B0604020202020204" pitchFamily="34" charset="0"/>
              </a:rPr>
              <a:t>vacancies</a:t>
            </a:r>
            <a:endParaRPr lang="fr-B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BE" sz="1800" i="0" dirty="0"/>
          </a:p>
          <a:p>
            <a:pPr marL="0" indent="0">
              <a:buNone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96598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170" name="Picture 2" descr="https://i.postimg.cc/8PTR9vCw/Planning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7" y="0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5970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140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776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958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17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Blank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5B8CC32BC1140B6F0C5F77127AF3D" ma:contentTypeVersion="11" ma:contentTypeDescription="Create a new document." ma:contentTypeScope="" ma:versionID="f9906d15404da19ccaababfe70229083">
  <xsd:schema xmlns:xsd="http://www.w3.org/2001/XMLSchema" xmlns:xs="http://www.w3.org/2001/XMLSchema" xmlns:p="http://schemas.microsoft.com/office/2006/metadata/properties" xmlns:ns2="12d6af70-178b-4e5d-9119-f14160711e65" xmlns:ns3="d384abb4-6cb5-4f67-8867-449f3dc2801e" targetNamespace="http://schemas.microsoft.com/office/2006/metadata/properties" ma:root="true" ma:fieldsID="af6a10e2a5137a13ea0e620176f15841" ns2:_="" ns3:_="">
    <xsd:import namespace="12d6af70-178b-4e5d-9119-f14160711e65"/>
    <xsd:import namespace="d384abb4-6cb5-4f67-8867-449f3dc280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d6af70-178b-4e5d-9119-f14160711e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84abb4-6cb5-4f67-8867-449f3dc2801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F9527F-9A10-4512-88A6-1A61382AE9CD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4a230dd3-5426-44e9-972e-c86e457e3d31"/>
    <ds:schemaRef ds:uri="0c869d80-d99c-4dac-b26b-cbbc56b0e91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CA19205-DE3C-4D00-8CF9-C56927C7618D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87</TotalTime>
  <Words>647</Words>
  <Application>Microsoft Office PowerPoint</Application>
  <PresentationFormat>Widescreen</PresentationFormat>
  <Paragraphs>171</Paragraphs>
  <Slides>2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9" baseType="lpstr">
      <vt:lpstr>Arial</vt:lpstr>
      <vt:lpstr>Calibri</vt:lpstr>
      <vt:lpstr>Calibri Light</vt:lpstr>
      <vt:lpstr>Courier New</vt:lpstr>
      <vt:lpstr>EC Square Sans Pro</vt:lpstr>
      <vt:lpstr>EC Square Sans Pro Medium</vt:lpstr>
      <vt:lpstr>Helvetica Neue</vt:lpstr>
      <vt:lpstr>Verdana</vt:lpstr>
      <vt:lpstr>Wingdings</vt:lpstr>
      <vt:lpstr>16B. BURIAN new template</vt:lpstr>
      <vt:lpstr>EC-template</vt:lpstr>
      <vt:lpstr>Blank</vt:lpstr>
      <vt:lpstr>1_EC-template</vt:lpstr>
      <vt:lpstr>Diapositiva de think-cell</vt:lpstr>
      <vt:lpstr> ESCO vision and developments European Single Procurement Document OUC meeting 3 March 2021</vt:lpstr>
      <vt:lpstr>EU goals in a digital labour market</vt:lpstr>
      <vt:lpstr>PowerPoint Presentation</vt:lpstr>
      <vt:lpstr>Early stage 2011-201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in ESCO developments</vt:lpstr>
      <vt:lpstr>Main purposes of the skills hierarchy</vt:lpstr>
      <vt:lpstr>The skills hierarchy A new structure</vt:lpstr>
      <vt:lpstr>Mapping to national skill and occupation classifications for interoperability</vt:lpstr>
      <vt:lpstr>Communication and outreach</vt:lpstr>
      <vt:lpstr>ESCO v1.1 Goals &amp; approach</vt:lpstr>
      <vt:lpstr>ESCO v1.1 Timeline and activities</vt:lpstr>
      <vt:lpstr>ESCO v1.1 Insights</vt:lpstr>
      <vt:lpstr>Data Science in ESCO</vt:lpstr>
      <vt:lpstr>Beyond Experts: Mapping other Data Sources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PIKIOS Dimitrios (EMPL)</cp:lastModifiedBy>
  <cp:revision>1516</cp:revision>
  <cp:lastPrinted>2018-06-26T10:02:01Z</cp:lastPrinted>
  <dcterms:created xsi:type="dcterms:W3CDTF">2016-09-12T12:31:58Z</dcterms:created>
  <dcterms:modified xsi:type="dcterms:W3CDTF">2021-03-02T18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5B8CC32BC1140B6F0C5F77127AF3D</vt:lpwstr>
  </property>
  <property fmtid="{D5CDD505-2E9C-101B-9397-08002B2CF9AE}" pid="3" name="_dlc_DocIdItemGuid">
    <vt:lpwstr>5219d683-a087-4781-bf56-561800d67e3d</vt:lpwstr>
  </property>
</Properties>
</file>